
<file path=[Content_Types].xml><?xml version="1.0" encoding="utf-8"?>
<Types xmlns="http://schemas.openxmlformats.org/package/2006/content-types">
  <Override PartName="/ppt/slides/slide6.xml" ContentType="application/vnd.openxmlformats-officedocument.presentationml.slide+xml"/>
  <Override PartName="/ppt/slideLayouts/slideLayout8.xml" ContentType="application/vnd.openxmlformats-officedocument.presentationml.slideLayout+xml"/>
  <Override PartName="/ppt/diagrams/colors1.xml" ContentType="application/vnd.openxmlformats-officedocument.drawingml.diagramColors+xml"/>
  <Override PartName="/ppt/diagrams/quickStyle4.xml" ContentType="application/vnd.openxmlformats-officedocument.drawingml.diagramStyle+xml"/>
  <Override PartName="/ppt/notesSlides/notesSlide2.xml" ContentType="application/vnd.openxmlformats-officedocument.presentationml.notesSlide+xml"/>
  <Override PartName="/ppt/charts/style2.xml" ContentType="application/vnd.ms-office.chartstyle+xml"/>
  <Override PartName="/ppt/slideMasters/slideMaster1.xml" ContentType="application/vnd.openxmlformats-officedocument.presentationml.slideMaster+xml"/>
  <Override PartName="/ppt/slides/slide4.xml" ContentType="application/vnd.openxmlformats-officedocument.presentationml.slide+xml"/>
  <Override PartName="/ppt/slideLayouts/slideLayout4.xml" ContentType="application/vnd.openxmlformats-officedocument.presentationml.slideLayout+xml"/>
  <Override PartName="/ppt/slideLayouts/slideLayout6.xml" ContentType="application/vnd.openxmlformats-officedocument.presentationml.slideLayout+xml"/>
  <Override PartName="/ppt/theme/theme3.xml" ContentType="application/vnd.openxmlformats-officedocument.theme+xml"/>
  <Override PartName="/ppt/diagrams/quickStyle2.xml" ContentType="application/vnd.openxmlformats-officedocument.drawingml.diagramStyle+xml"/>
  <Override PartName="/ppt/slides/slide2.xml" ContentType="application/vnd.openxmlformats-officedocument.presentationml.slide+xml"/>
  <Override PartName="/ppt/theme/theme1.xml" ContentType="application/vnd.openxmlformats-officedocument.theme+xml"/>
  <Override PartName="/ppt/slideLayouts/slideLayout2.xml" ContentType="application/vnd.openxmlformats-officedocument.presentationml.slideLayout+xml"/>
  <Override PartName="/ppt/tags/tag2.xml" ContentType="application/vnd.openxmlformats-officedocument.presentationml.tags+xml"/>
  <Default Extension="rels" ContentType="application/vnd.openxmlformats-package.relationships+xml"/>
  <Default Extension="xml" ContentType="application/xml"/>
  <Override PartName="/ppt/notesMasters/notesMaster1.xml" ContentType="application/vnd.openxmlformats-officedocument.presentationml.notesMaster+xml"/>
  <Default Extension="fntdata" ContentType="application/x-fontdata"/>
  <Override PartName="/ppt/charts/colors2.xml" ContentType="application/vnd.ms-office.chartcolorstyle+xml"/>
  <Override PartName="/ppt/tableStyles.xml" ContentType="application/vnd.openxmlformats-officedocument.presentationml.tableStyles+xml"/>
  <Override PartName="/ppt/slideLayouts/slideLayout11.xml" ContentType="application/vnd.openxmlformats-officedocument.presentationml.slideLayout+xml"/>
  <Override PartName="/ppt/diagrams/layout5.xml" ContentType="application/vnd.openxmlformats-officedocument.drawingml.diagramLayout+xml"/>
  <Override PartName="/ppt/diagrams/data6.xml" ContentType="application/vnd.openxmlformats-officedocument.drawingml.diagramData+xml"/>
  <Override PartName="/ppt/diagrams/layout3.xml" ContentType="application/vnd.openxmlformats-officedocument.drawingml.diagramLayout+xml"/>
  <Override PartName="/ppt/diagrams/data4.xml" ContentType="application/vnd.openxmlformats-officedocument.drawingml.diagramData+xml"/>
  <Override PartName="/ppt/diagrams/drawing9.xml" ContentType="application/vnd.ms-office.drawingml.diagramDrawing+xml"/>
  <Override PartName="/ppt/diagrams/layout1.xml" ContentType="application/vnd.openxmlformats-officedocument.drawingml.diagramLayout+xml"/>
  <Override PartName="/ppt/diagrams/data2.xml" ContentType="application/vnd.openxmlformats-officedocument.drawingml.diagramData+xml"/>
  <Override PartName="/ppt/diagrams/data3.xml" ContentType="application/vnd.openxmlformats-officedocument.drawingml.diagramData+xml"/>
  <Override PartName="/ppt/diagrams/colors5.xml" ContentType="application/vnd.openxmlformats-officedocument.drawingml.diagramColors+xml"/>
  <Override PartName="/ppt/diagrams/colors6.xml" ContentType="application/vnd.openxmlformats-officedocument.drawingml.diagramColors+xml"/>
  <Default Extension="xlsx" ContentType="application/vnd.openxmlformats-officedocument.spreadsheetml.sheet"/>
  <Override PartName="/ppt/diagrams/drawing6.xml" ContentType="application/vnd.ms-office.drawingml.diagramDrawing+xml"/>
  <Override PartName="/ppt/diagrams/drawing11.xml" ContentType="application/vnd.ms-office.drawingml.diagramDrawing+xml"/>
  <Override PartName="/ppt/diagrams/drawing7.xml" ContentType="application/vnd.ms-office.drawingml.diagramDrawing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handoutMasters/handoutMaster1.xml" ContentType="application/vnd.openxmlformats-officedocument.presentationml.handoutMaster+xml"/>
  <Override PartName="/ppt/viewProps.xml" ContentType="application/vnd.openxmlformats-officedocument.presentationml.viewProps+xml"/>
  <Override PartName="/ppt/slideLayouts/slideLayout9.xml" ContentType="application/vnd.openxmlformats-officedocument.presentationml.slideLayout+xml"/>
  <Override PartName="/ppt/diagrams/data1.xml" ContentType="application/vnd.openxmlformats-officedocument.drawingml.diagramData+xml"/>
  <Override PartName="/ppt/diagrams/colors3.xml" ContentType="application/vnd.openxmlformats-officedocument.drawingml.diagramColors+xml"/>
  <Override PartName="/ppt/diagrams/colors4.xml" ContentType="application/vnd.openxmlformats-officedocument.drawingml.diagramColors+xml"/>
  <Override PartName="/ppt/diagrams/quickStyle6.xml" ContentType="application/vnd.openxmlformats-officedocument.drawingml.diagramStyl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docProps/core.xml" ContentType="application/vnd.openxmlformats-package.core-properties+xml"/>
  <Override PartName="/ppt/diagrams/drawing10.xml" ContentType="application/vnd.ms-office.drawingml.diagramDrawing+xml"/>
  <Override PartName="/ppt/slides/slide5.xml" ContentType="application/vnd.openxmlformats-officedocument.presentationml.slide+xml"/>
  <Override PartName="/ppt/slideLayouts/slideLayout7.xml" ContentType="application/vnd.openxmlformats-officedocument.presentationml.slideLayout+xml"/>
  <Default Extension="bin" ContentType="application/vnd.openxmlformats-officedocument.oleObject"/>
  <Override PartName="/ppt/notesSlides/notesSlide1.xml" ContentType="application/vnd.openxmlformats-officedocument.presentationml.notesSlide+xml"/>
  <Default Extension="png" ContentType="image/png"/>
  <Override PartName="/ppt/diagrams/colors2.xml" ContentType="application/vnd.openxmlformats-officedocument.drawingml.diagramColors+xml"/>
  <Override PartName="/ppt/diagrams/quickStyle5.xml" ContentType="application/vnd.openxmlformats-officedocument.drawingml.diagramStyle+xml"/>
  <Override PartName="/ppt/notesSlides/notesSlide3.xml" ContentType="application/vnd.openxmlformats-officedocument.presentationml.notesSlide+xml"/>
  <Override PartName="/ppt/charts/style1.xml" ContentType="application/vnd.ms-office.chartstyle+xml"/>
  <Override PartName="/ppt/slides/slide3.xml" ContentType="application/vnd.openxmlformats-officedocument.presentationml.slide+xml"/>
  <Override PartName="/ppt/presProps.xml" ContentType="application/vnd.openxmlformats-officedocument.presentationml.presProps+xml"/>
  <Override PartName="/ppt/slideLayouts/slideLayout5.xml" ContentType="application/vnd.openxmlformats-officedocument.presentationml.slideLayout+xml"/>
  <Override PartName="/ppt/theme/theme2.xml" ContentType="application/vnd.openxmlformats-officedocument.theme+xml"/>
  <Override PartName="/ppt/diagrams/quickStyle3.xml" ContentType="application/vnd.openxmlformats-officedocument.drawingml.diagramStyle+xml"/>
  <Override PartName="/ppt/slides/slide1.xml" ContentType="application/vnd.openxmlformats-officedocument.presentationml.slide+xml"/>
  <Override PartName="/ppt/slideLayouts/slideLayout3.xml" ContentType="application/vnd.openxmlformats-officedocument.presentationml.slideLayout+xml"/>
  <Default Extension="jpeg" ContentType="image/jpeg"/>
  <Override PartName="/ppt/diagrams/quickStyle1.xml" ContentType="application/vnd.openxmlformats-officedocument.drawingml.diagramStyle+xml"/>
  <Override PartName="/ppt/tags/tag3.xml" ContentType="application/vnd.openxmlformats-officedocument.presentationml.tag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tags/tag1.xml" ContentType="application/vnd.openxmlformats-officedocument.presentationml.tags+xml"/>
  <Override PartName="/ppt/diagrams/layout6.xml" ContentType="application/vnd.openxmlformats-officedocument.drawingml.diagramLayout+xml"/>
  <Override PartName="/docProps/app.xml" ContentType="application/vnd.openxmlformats-officedocument.extended-properties+xml"/>
  <Override PartName="/ppt/slideLayouts/slideLayout12.xml" ContentType="application/vnd.openxmlformats-officedocument.presentationml.slideLayout+xml"/>
  <Override PartName="/ppt/diagrams/layout4.xml" ContentType="application/vnd.openxmlformats-officedocument.drawingml.diagramLayout+xml"/>
  <Override PartName="/ppt/charts/colors1.xml" ContentType="application/vnd.ms-office.chartcolorstyle+xml"/>
  <Override PartName="/ppt/slideLayouts/slideLayout10.xml" ContentType="application/vnd.openxmlformats-officedocument.presentationml.slideLayout+xml"/>
  <Default Extension="vml" ContentType="application/vnd.openxmlformats-officedocument.vmlDrawing"/>
  <Override PartName="/ppt/diagrams/layout2.xml" ContentType="application/vnd.openxmlformats-officedocument.drawingml.diagramLayout+xml"/>
  <Override PartName="/ppt/diagrams/data5.xml" ContentType="application/vnd.openxmlformats-officedocument.drawingml.diagramData+xml"/>
  <Default Extension="gif" ContentType="image/gif"/>
  <Override PartName="/ppt/diagrams/drawing8.xml" ContentType="application/vnd.ms-office.drawingml.diagramDrawing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trictFirstAndLastChars="0" embedTrueTypeFonts="1" saveSubsetFonts="1" autoCompressPictures="0">
  <p:sldMasterIdLst>
    <p:sldMasterId id="2147483662" r:id="rId1"/>
  </p:sldMasterIdLst>
  <p:notesMasterIdLst>
    <p:notesMasterId r:id="rId10"/>
  </p:notesMasterIdLst>
  <p:handoutMasterIdLst>
    <p:handoutMasterId r:id="rId11"/>
  </p:handoutMasterIdLst>
  <p:sldIdLst>
    <p:sldId id="2145707142" r:id="rId2"/>
    <p:sldId id="2145707204" r:id="rId3"/>
    <p:sldId id="2145707203" r:id="rId4"/>
    <p:sldId id="2145707206" r:id="rId5"/>
    <p:sldId id="288" r:id="rId6"/>
    <p:sldId id="2145707199" r:id="rId7"/>
    <p:sldId id="284" r:id="rId8"/>
    <p:sldId id="2145707205" r:id="rId9"/>
  </p:sldIdLst>
  <p:sldSz cx="9144000" cy="5143500" type="screen16x9"/>
  <p:notesSz cx="7104063" cy="10234613"/>
  <p:embeddedFontLst>
    <p:embeddedFont>
      <p:font typeface="Calibri" pitchFamily="34" charset="0"/>
      <p:regular r:id="rId12"/>
      <p:bold r:id="rId13"/>
      <p:italic r:id="rId14"/>
      <p:boldItalic r:id="rId15"/>
    </p:embeddedFont>
    <p:embeddedFont>
      <p:font typeface="Lato Black" charset="0"/>
      <p:bold r:id="rId16"/>
      <p:italic r:id="rId17"/>
      <p:boldItalic r:id="rId18"/>
    </p:embeddedFont>
    <p:embeddedFont>
      <p:font typeface="Tahoma" pitchFamily="34" charset="0"/>
      <p:regular r:id="rId19"/>
      <p:bold r:id="rId20"/>
    </p:embeddedFont>
    <p:embeddedFont>
      <p:font typeface="ＭＳ Ｐゴシック" pitchFamily="34" charset="-128"/>
      <p:regular r:id="rId21"/>
    </p:embeddedFont>
    <p:embeddedFont>
      <p:font typeface="Calibri Light" pitchFamily="34" charset="0"/>
      <p:regular r:id="rId22"/>
      <p:italic r:id="rId23"/>
    </p:embeddedFont>
    <p:embeddedFont>
      <p:font typeface="Segoe UI Black" charset="0"/>
      <p:bold r:id="rId24"/>
      <p:boldItalic r:id="rId25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 xmlns="">
        <p15:guide id="1" orient="horz" pos="1597">
          <p15:clr>
            <a:srgbClr val="A4A3A4"/>
          </p15:clr>
        </p15:guide>
        <p15:guide id="2" pos="2903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 xmlns="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 xmlns="">
          <a:srgbClr val="FF0000"/>
        </p14:laserClr>
      </p:ext>
      <p:ext uri="{2FDB2607-1784-4EEB-B798-7EB5836EED8A}">
        <p14:showMediaCtrls xmlns:p14="http://schemas.microsoft.com/office/powerpoint/2010/main" xmlns="" val="1"/>
      </p:ext>
    </p:extLst>
  </p:showPr>
  <p:clrMru>
    <a:srgbClr val="F9C61B"/>
    <a:srgbClr val="FFC000"/>
    <a:srgbClr val="808080"/>
    <a:srgbClr val="808000"/>
    <a:srgbClr val="C55A47"/>
    <a:srgbClr val="70AD47"/>
    <a:srgbClr val="74A6FF"/>
    <a:srgbClr val="2DBDEF"/>
    <a:srgbClr val="12C1B0"/>
    <a:srgbClr val="0091FE"/>
  </p:clrMru>
  <p:extLst>
    <p:ext uri="{E76CE94A-603C-4142-B9EB-6D1370010A27}">
      <p14:discardImageEditData xmlns:p14="http://schemas.microsoft.com/office/powerpoint/2010/main" xmlns="" val="0"/>
    </p:ext>
    <p:ext uri="{D31A062A-798A-4329-ABDD-BBA856620510}">
      <p14:defaultImageDpi xmlns:p14="http://schemas.microsoft.com/office/powerpoint/2010/main" xmlns="" val="220"/>
    </p:ext>
    <p:ext uri="{FD5EFAAD-0ECE-453E-9831-46B23BE46B34}">
      <p15:chartTrackingRefBased xmlns:p15="http://schemas.microsoft.com/office/powerpoint/2012/main" xmlns="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showOutlineIcons="0">
    <p:restoredLeft sz="9454" autoAdjust="0"/>
    <p:restoredTop sz="98856" autoAdjust="0"/>
  </p:normalViewPr>
  <p:slideViewPr>
    <p:cSldViewPr snapToGrid="0">
      <p:cViewPr varScale="1">
        <p:scale>
          <a:sx n="127" d="100"/>
          <a:sy n="127" d="100"/>
        </p:scale>
        <p:origin x="-90" y="-372"/>
      </p:cViewPr>
      <p:guideLst>
        <p:guide orient="horz" pos="1597"/>
        <p:guide pos="2903"/>
      </p:guideLst>
    </p:cSldViewPr>
  </p:slideViewPr>
  <p:notesTextViewPr>
    <p:cViewPr>
      <p:scale>
        <a:sx n="1" d="1"/>
        <a:sy n="1" d="1"/>
      </p:scale>
      <p:origin x="0" y="0"/>
    </p:cViewPr>
  </p:notesTextViewPr>
  <p:notesViewPr>
    <p:cSldViewPr snapToGrid="0">
      <p:cViewPr varScale="1">
        <p:scale>
          <a:sx n="59" d="100"/>
          <a:sy n="59" d="100"/>
        </p:scale>
        <p:origin x="3235" y="62"/>
      </p:cViewPr>
      <p:guideLst/>
    </p:cSldViewPr>
  </p:notesViewPr>
  <p:gridSpacing cx="73736200" cy="7373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font" Target="fonts/font2.fntdata"/><Relationship Id="rId18" Type="http://schemas.openxmlformats.org/officeDocument/2006/relationships/font" Target="fonts/font7.fntdata"/><Relationship Id="rId26" Type="http://schemas.openxmlformats.org/officeDocument/2006/relationships/presProps" Target="presProps.xml"/><Relationship Id="rId3" Type="http://schemas.openxmlformats.org/officeDocument/2006/relationships/slide" Target="slides/slide2.xml"/><Relationship Id="rId21" Type="http://schemas.openxmlformats.org/officeDocument/2006/relationships/font" Target="fonts/font10.fntdata"/><Relationship Id="rId7" Type="http://schemas.openxmlformats.org/officeDocument/2006/relationships/slide" Target="slides/slide6.xml"/><Relationship Id="rId12" Type="http://schemas.openxmlformats.org/officeDocument/2006/relationships/font" Target="fonts/font1.fntdata"/><Relationship Id="rId17" Type="http://schemas.openxmlformats.org/officeDocument/2006/relationships/font" Target="fonts/font6.fntdata"/><Relationship Id="rId25" Type="http://schemas.openxmlformats.org/officeDocument/2006/relationships/font" Target="fonts/font14.fntdata"/><Relationship Id="rId2" Type="http://schemas.openxmlformats.org/officeDocument/2006/relationships/slide" Target="slides/slide1.xml"/><Relationship Id="rId16" Type="http://schemas.openxmlformats.org/officeDocument/2006/relationships/font" Target="fonts/font5.fntdata"/><Relationship Id="rId20" Type="http://schemas.openxmlformats.org/officeDocument/2006/relationships/font" Target="fonts/font9.fntdata"/><Relationship Id="rId29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handoutMaster" Target="handoutMasters/handoutMaster1.xml"/><Relationship Id="rId24" Type="http://schemas.openxmlformats.org/officeDocument/2006/relationships/font" Target="fonts/font13.fntdata"/><Relationship Id="rId5" Type="http://schemas.openxmlformats.org/officeDocument/2006/relationships/slide" Target="slides/slide4.xml"/><Relationship Id="rId15" Type="http://schemas.openxmlformats.org/officeDocument/2006/relationships/font" Target="fonts/font4.fntdata"/><Relationship Id="rId23" Type="http://schemas.openxmlformats.org/officeDocument/2006/relationships/font" Target="fonts/font12.fntdata"/><Relationship Id="rId28" Type="http://schemas.openxmlformats.org/officeDocument/2006/relationships/theme" Target="theme/theme1.xml"/><Relationship Id="rId10" Type="http://schemas.openxmlformats.org/officeDocument/2006/relationships/notesMaster" Target="notesMasters/notesMaster1.xml"/><Relationship Id="rId19" Type="http://schemas.openxmlformats.org/officeDocument/2006/relationships/font" Target="fonts/font8.fntdata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font" Target="fonts/font3.fntdata"/><Relationship Id="rId22" Type="http://schemas.openxmlformats.org/officeDocument/2006/relationships/font" Target="fonts/font11.fntdata"/><Relationship Id="rId27" Type="http://schemas.openxmlformats.org/officeDocument/2006/relationships/viewProps" Target="viewProps.xml"/></Relationships>
</file>

<file path=ppt/charts/_rels/chart1.xml.rels><?xml version="1.0" encoding="UTF-8" standalone="yes"?>
<Relationships xmlns="http://schemas.openxmlformats.org/package/2006/relationships"><Relationship Id="rId3" Type="http://schemas.microsoft.com/office/2011/relationships/chartStyle" Target="style1.xml"/><Relationship Id="rId2" Type="http://schemas.microsoft.com/office/2011/relationships/chartColorStyle" Target="colors1.xml"/><Relationship Id="rId1" Type="http://schemas.openxmlformats.org/officeDocument/2006/relationships/package" Target="../embeddings/_____Microsoft_Office_Excel1.xlsx"/></Relationships>
</file>

<file path=ppt/charts/_rels/chart2.xml.rels><?xml version="1.0" encoding="UTF-8" standalone="yes"?>
<Relationships xmlns="http://schemas.openxmlformats.org/package/2006/relationships"><Relationship Id="rId3" Type="http://schemas.microsoft.com/office/2011/relationships/chartStyle" Target="style2.xml"/><Relationship Id="rId2" Type="http://schemas.microsoft.com/office/2011/relationships/chartColorStyle" Target="colors2.xml"/><Relationship Id="rId1" Type="http://schemas.openxmlformats.org/officeDocument/2006/relationships/package" Target="../embeddings/_____Microsoft_Office_Excel2.xlsx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>
  <c:lang val="ru-RU"/>
  <c:chart>
    <c:title>
      <c:tx>
        <c:rich>
          <a:bodyPr rot="0" spcFirstLastPara="1" vertOverflow="ellipsis" vert="horz" wrap="square" anchor="ctr" anchorCtr="1"/>
          <a:lstStyle/>
          <a:p>
            <a:pPr>
              <a:defRPr sz="1400" b="0" i="0" u="none" strike="noStrike" kern="1200" cap="none" spc="0" baseline="0">
                <a:ln w="0"/>
                <a:solidFill>
                  <a:schemeClr val="accent1">
                    <a:lumMod val="75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  <a:latin typeface="+mn-lt"/>
                <a:ea typeface="+mn-ea"/>
                <a:cs typeface="+mn-cs"/>
              </a:defRPr>
            </a:pPr>
            <a:r>
              <a:rPr lang="ru-RU" b="0" cap="none" spc="0" dirty="0">
                <a:ln w="0"/>
                <a:solidFill>
                  <a:schemeClr val="accent1">
                    <a:lumMod val="75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Численность</a:t>
            </a:r>
            <a:r>
              <a:rPr lang="ru-RU" b="0" cap="none" spc="0" baseline="0" dirty="0">
                <a:ln w="0"/>
                <a:solidFill>
                  <a:schemeClr val="accent1">
                    <a:lumMod val="75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 посетителей по типам туризма*, </a:t>
            </a:r>
            <a:r>
              <a:rPr lang="ru-RU" b="0" cap="none" spc="0" baseline="0" dirty="0" err="1">
                <a:ln w="0"/>
                <a:solidFill>
                  <a:schemeClr val="accent1">
                    <a:lumMod val="75000"/>
                  </a:schemeClr>
                </a:solidFill>
                <a:effectLst>
                  <a:outerShdw blurRad="38100" dist="19050" dir="2700000" algn="tl" rotWithShape="0">
                    <a:schemeClr val="dk1">
                      <a:alpha val="40000"/>
                    </a:schemeClr>
                  </a:outerShdw>
                </a:effectLst>
              </a:rPr>
              <a:t>млн.человек</a:t>
            </a:r>
            <a:endParaRPr lang="ru-RU" b="0" cap="none" spc="0" dirty="0">
              <a:ln w="0"/>
              <a:solidFill>
                <a:schemeClr val="accent1">
                  <a:lumMod val="75000"/>
                </a:schemeClr>
              </a:solidFill>
              <a:effectLst>
                <a:outerShdw blurRad="38100" dist="19050" dir="2700000" algn="tl" rotWithShape="0">
                  <a:schemeClr val="dk1">
                    <a:alpha val="40000"/>
                  </a:schemeClr>
                </a:outerShdw>
              </a:effectLst>
            </a:endParaRPr>
          </a:p>
        </c:rich>
      </c:tx>
      <c:layout/>
      <c:spPr>
        <a:noFill/>
        <a:ln>
          <a:noFill/>
        </a:ln>
        <a:effectLst/>
      </c:spPr>
    </c:title>
    <c:plotArea>
      <c:layout/>
      <c:barChart>
        <c:barDir val="col"/>
        <c:grouping val="clustered"/>
        <c:ser>
          <c:idx val="0"/>
          <c:order val="0"/>
          <c:tx>
            <c:strRef>
              <c:f>кнб!$C$3</c:f>
              <c:strCache>
                <c:ptCount val="1"/>
                <c:pt idx="0">
                  <c:v>Выездной туризм</c:v>
                </c:pt>
              </c:strCache>
            </c:strRef>
          </c:tx>
          <c:spPr>
            <a:solidFill>
              <a:schemeClr val="accent1">
                <a:lumMod val="75000"/>
              </a:schemeClr>
            </a:soli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кнб!$B$4:$B$9</c:f>
              <c:numCache>
                <c:formatCode>General</c:formatCode>
                <c:ptCount val="6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</c:numCache>
            </c:numRef>
          </c:cat>
          <c:val>
            <c:numRef>
              <c:f>кнб!$C$4:$C$9</c:f>
              <c:numCache>
                <c:formatCode>General</c:formatCode>
                <c:ptCount val="6"/>
                <c:pt idx="0">
                  <c:v>10.3</c:v>
                </c:pt>
                <c:pt idx="1">
                  <c:v>10.6</c:v>
                </c:pt>
                <c:pt idx="2">
                  <c:v>10.7</c:v>
                </c:pt>
                <c:pt idx="3">
                  <c:v>2.9</c:v>
                </c:pt>
                <c:pt idx="4">
                  <c:v>3.5</c:v>
                </c:pt>
                <c:pt idx="5">
                  <c:v>7.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831C-4031-AFCA-031941B9CE58}"/>
            </c:ext>
          </c:extLst>
        </c:ser>
        <c:ser>
          <c:idx val="1"/>
          <c:order val="1"/>
          <c:tx>
            <c:strRef>
              <c:f>кнб!$D$3</c:f>
              <c:strCache>
                <c:ptCount val="1"/>
                <c:pt idx="0">
                  <c:v>Въездной туризм</c:v>
                </c:pt>
              </c:strCache>
            </c:strRef>
          </c:tx>
          <c:spPr>
            <a:solidFill>
              <a:schemeClr val="accent1">
                <a:lumMod val="60000"/>
                <a:lumOff val="40000"/>
              </a:schemeClr>
            </a:soli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кнб!$B$4:$B$9</c:f>
              <c:numCache>
                <c:formatCode>General</c:formatCode>
                <c:ptCount val="6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</c:numCache>
            </c:numRef>
          </c:cat>
          <c:val>
            <c:numRef>
              <c:f>кнб!$D$4:$D$9</c:f>
              <c:numCache>
                <c:formatCode>General</c:formatCode>
                <c:ptCount val="6"/>
                <c:pt idx="0">
                  <c:v>7.7</c:v>
                </c:pt>
                <c:pt idx="1">
                  <c:v>8.8000000000000007</c:v>
                </c:pt>
                <c:pt idx="2">
                  <c:v>8.5</c:v>
                </c:pt>
                <c:pt idx="3" formatCode="0.0">
                  <c:v>2</c:v>
                </c:pt>
                <c:pt idx="4">
                  <c:v>1.3</c:v>
                </c:pt>
                <c:pt idx="5">
                  <c:v>4.7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1-831C-4031-AFCA-031941B9CE58}"/>
            </c:ext>
          </c:extLst>
        </c:ser>
        <c:ser>
          <c:idx val="2"/>
          <c:order val="2"/>
          <c:tx>
            <c:strRef>
              <c:f>кнб!$E$3</c:f>
              <c:strCache>
                <c:ptCount val="1"/>
                <c:pt idx="0">
                  <c:v>Внутренний туризм</c:v>
                </c:pt>
              </c:strCache>
            </c:strRef>
          </c:tx>
          <c:spPr>
            <a:solidFill>
              <a:schemeClr val="tx2">
                <a:lumMod val="20000"/>
                <a:lumOff val="80000"/>
              </a:schemeClr>
            </a:solidFill>
            <a:ln>
              <a:noFill/>
            </a:ln>
            <a:effectLst/>
          </c:spPr>
          <c:dLbls>
            <c:spPr>
              <a:noFill/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0" i="0" u="none" strike="noStrike" kern="1200" baseline="0">
                    <a:solidFill>
                      <a:schemeClr val="tx1">
                        <a:lumMod val="75000"/>
                        <a:lumOff val="2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 cap="flat" cmpd="sng" algn="ctr">
                      <a:solidFill>
                        <a:schemeClr val="tx1">
                          <a:lumMod val="35000"/>
                          <a:lumOff val="65000"/>
                        </a:schemeClr>
                      </a:solidFill>
                      <a:round/>
                    </a:ln>
                    <a:effectLst/>
                  </c:spPr>
                </c15:leaderLines>
              </c:ext>
            </c:extLst>
          </c:dLbls>
          <c:cat>
            <c:numRef>
              <c:f>кнб!$B$4:$B$9</c:f>
              <c:numCache>
                <c:formatCode>General</c:formatCode>
                <c:ptCount val="6"/>
                <c:pt idx="0">
                  <c:v>2017</c:v>
                </c:pt>
                <c:pt idx="1">
                  <c:v>2018</c:v>
                </c:pt>
                <c:pt idx="2">
                  <c:v>2019</c:v>
                </c:pt>
                <c:pt idx="3">
                  <c:v>2020</c:v>
                </c:pt>
                <c:pt idx="4">
                  <c:v>2021</c:v>
                </c:pt>
                <c:pt idx="5">
                  <c:v>2022</c:v>
                </c:pt>
              </c:numCache>
            </c:numRef>
          </c:cat>
          <c:val>
            <c:numRef>
              <c:f>кнб!$E$4:$E$9</c:f>
              <c:numCache>
                <c:formatCode>General</c:formatCode>
                <c:ptCount val="6"/>
                <c:pt idx="0">
                  <c:v>5.6</c:v>
                </c:pt>
                <c:pt idx="1">
                  <c:v>5.9</c:v>
                </c:pt>
                <c:pt idx="2">
                  <c:v>6.7</c:v>
                </c:pt>
                <c:pt idx="3">
                  <c:v>4.5</c:v>
                </c:pt>
                <c:pt idx="4">
                  <c:v>6.9</c:v>
                </c:pt>
                <c:pt idx="5">
                  <c:v>8.6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2-831C-4031-AFCA-031941B9CE58}"/>
            </c:ext>
          </c:extLst>
        </c:ser>
        <c:gapWidth val="219"/>
        <c:overlap val="-27"/>
        <c:axId val="141573504"/>
        <c:axId val="142791808"/>
      </c:barChart>
      <c:catAx>
        <c:axId val="141573504"/>
        <c:scaling>
          <c:orientation val="minMax"/>
        </c:scaling>
        <c:axPos val="b"/>
        <c:numFmt formatCode="General" sourceLinked="1"/>
        <c:majorTickMark val="none"/>
        <c:tickLblPos val="nextTo"/>
        <c:spPr>
          <a:noFill/>
          <a:ln w="9525" cap="flat" cmpd="sng" algn="ctr">
            <a:solidFill>
              <a:schemeClr val="tx1">
                <a:lumMod val="15000"/>
                <a:lumOff val="85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42791808"/>
        <c:crosses val="autoZero"/>
        <c:auto val="1"/>
        <c:lblAlgn val="ctr"/>
        <c:lblOffset val="100"/>
      </c:catAx>
      <c:valAx>
        <c:axId val="142791808"/>
        <c:scaling>
          <c:orientation val="minMax"/>
        </c:scaling>
        <c:axPos val="l"/>
        <c:majorGridlines>
          <c:spPr>
            <a:ln w="9525" cap="flat" cmpd="sng" algn="ctr">
              <a:solidFill>
                <a:schemeClr val="accent1"/>
              </a:solidFill>
              <a:prstDash val="dash"/>
              <a:round/>
            </a:ln>
            <a:effectLst/>
          </c:spPr>
        </c:majorGridlines>
        <c:numFmt formatCode="General" sourceLinked="1"/>
        <c:majorTickMark val="none"/>
        <c:tickLblPos val="nextTo"/>
        <c:spPr>
          <a:noFill/>
          <a:ln>
            <a:solidFill>
              <a:schemeClr val="accent1"/>
            </a:solidFill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tx1">
                    <a:lumMod val="65000"/>
                    <a:lumOff val="3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41573504"/>
        <c:crosses val="autoZero"/>
        <c:crossBetween val="between"/>
      </c:valAx>
      <c:spPr>
        <a:noFill/>
        <a:ln w="25400">
          <a:noFill/>
        </a:ln>
        <a:effectLst/>
      </c:spPr>
    </c:plotArea>
    <c:legend>
      <c:legendPos val="b"/>
      <c:layout/>
      <c:spPr>
        <a:noFill/>
        <a:ln>
          <a:noFill/>
        </a:ln>
        <a:effectLst/>
      </c:spPr>
      <c:txPr>
        <a:bodyPr rot="0" spcFirstLastPara="1" vertOverflow="ellipsis" vert="horz" wrap="square" anchor="ctr" anchorCtr="1"/>
        <a:lstStyle/>
        <a:p>
          <a:pPr>
            <a:defRPr sz="900" b="0" i="0" u="none" strike="noStrike" kern="1200" baseline="0">
              <a:solidFill>
                <a:schemeClr val="tx1">
                  <a:lumMod val="65000"/>
                  <a:lumOff val="35000"/>
                </a:schemeClr>
              </a:solidFill>
              <a:latin typeface="+mn-lt"/>
              <a:ea typeface="+mn-ea"/>
              <a:cs typeface="+mn-cs"/>
            </a:defRPr>
          </a:pPr>
          <a:endParaRPr lang="ru-RU"/>
        </a:p>
      </c:txPr>
    </c:legend>
    <c:plotVisOnly val="1"/>
    <c:dispBlanksAs val="gap"/>
  </c:chart>
  <c:spPr>
    <a:noFill/>
    <a:ln>
      <a:noFill/>
    </a:ln>
    <a:effectLst/>
  </c:spPr>
  <c:txPr>
    <a:bodyPr/>
    <a:lstStyle/>
    <a:p>
      <a:pPr>
        <a:defRPr/>
      </a:pPr>
      <a:endParaRPr lang="ru-RU"/>
    </a:p>
  </c:txPr>
  <c:externalData r:id="rId1"/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>
  <c:date1904 val="1"/>
  <c:lang val="ru-RU"/>
  <c:style val="3"/>
  <c:chart>
    <c:autoTitleDeleted val="1"/>
    <c:plotArea>
      <c:layout/>
      <c:barChart>
        <c:barDir val="bar"/>
        <c:grouping val="clustered"/>
        <c:ser>
          <c:idx val="0"/>
          <c:order val="0"/>
          <c:spPr>
            <a:solidFill>
              <a:schemeClr val="accent1">
                <a:lumMod val="75000"/>
              </a:schemeClr>
            </a:solidFill>
            <a:ln>
              <a:noFill/>
            </a:ln>
            <a:effectLst/>
          </c:spPr>
          <c:dLbls>
            <c:spPr>
              <a:solidFill>
                <a:sysClr val="window" lastClr="FFFFFF"/>
              </a:solidFill>
              <a:ln>
                <a:noFill/>
              </a:ln>
              <a:effectLst/>
            </c:spPr>
            <c:txPr>
              <a:bodyPr rot="0" spcFirstLastPara="1" vertOverflow="ellipsis" vert="horz" wrap="square" lIns="38100" tIns="19050" rIns="38100" bIns="19050" anchor="ctr" anchorCtr="1">
                <a:spAutoFit/>
              </a:bodyPr>
              <a:lstStyle/>
              <a:p>
                <a:pPr>
                  <a:defRPr sz="900" b="1" i="0" u="none" strike="noStrike" kern="1200" baseline="0">
                    <a:solidFill>
                      <a:schemeClr val="accent1">
                        <a:lumMod val="75000"/>
                      </a:schemeClr>
                    </a:solidFill>
                    <a:latin typeface="+mn-lt"/>
                    <a:ea typeface="+mn-ea"/>
                    <a:cs typeface="+mn-cs"/>
                  </a:defRPr>
                </a:pPr>
                <a:endParaRPr lang="ru-RU"/>
              </a:p>
            </c:txPr>
            <c:showVal val="1"/>
            <c:extLst xmlns:c16r2="http://schemas.microsoft.com/office/drawing/2015/06/chart">
              <c:ext xmlns:c15="http://schemas.microsoft.com/office/drawing/2012/chart" uri="{CE6537A1-D6FC-4f65-9D91-7224C49458BB}">
                <c15:showLeaderLines val="1"/>
                <c15:leaderLines>
                  <c:spPr>
                    <a:ln w="9525">
                      <a:solidFill>
                        <a:schemeClr val="accent1">
                          <a:lumMod val="60000"/>
                          <a:lumOff val="40000"/>
                        </a:schemeClr>
                      </a:solidFill>
                    </a:ln>
                    <a:effectLst/>
                  </c:spPr>
                </c15:leaderLines>
              </c:ext>
            </c:extLst>
          </c:dLbls>
          <c:cat>
            <c:strRef>
              <c:f>Лист1!$I$14:$I$26</c:f>
              <c:strCache>
                <c:ptCount val="13"/>
                <c:pt idx="0">
                  <c:v>Российская Федерация</c:v>
                </c:pt>
                <c:pt idx="1">
                  <c:v>Узбекистан</c:v>
                </c:pt>
                <c:pt idx="2">
                  <c:v>Кыргызстан</c:v>
                </c:pt>
                <c:pt idx="3">
                  <c:v>Таджикистан</c:v>
                </c:pt>
                <c:pt idx="4">
                  <c:v>Турция</c:v>
                </c:pt>
                <c:pt idx="5">
                  <c:v>Беларусь</c:v>
                </c:pt>
                <c:pt idx="6">
                  <c:v>Азербайджан</c:v>
                </c:pt>
                <c:pt idx="7">
                  <c:v>Германия</c:v>
                </c:pt>
                <c:pt idx="8">
                  <c:v>Индия</c:v>
                </c:pt>
                <c:pt idx="9">
                  <c:v>Украина</c:v>
                </c:pt>
                <c:pt idx="10">
                  <c:v>Грузия</c:v>
                </c:pt>
                <c:pt idx="11">
                  <c:v>США</c:v>
                </c:pt>
                <c:pt idx="12">
                  <c:v>Монголия</c:v>
                </c:pt>
              </c:strCache>
            </c:strRef>
          </c:cat>
          <c:val>
            <c:numRef>
              <c:f>Лист1!$J$14:$J$26</c:f>
              <c:numCache>
                <c:formatCode>#,##0.0</c:formatCode>
                <c:ptCount val="13"/>
                <c:pt idx="0">
                  <c:v>1526.4</c:v>
                </c:pt>
                <c:pt idx="1">
                  <c:v>1482.9</c:v>
                </c:pt>
                <c:pt idx="2">
                  <c:v>892.1</c:v>
                </c:pt>
                <c:pt idx="3">
                  <c:v>217.8</c:v>
                </c:pt>
                <c:pt idx="4">
                  <c:v>106.9</c:v>
                </c:pt>
                <c:pt idx="5">
                  <c:v>92.5</c:v>
                </c:pt>
                <c:pt idx="6">
                  <c:v>59.3</c:v>
                </c:pt>
                <c:pt idx="7">
                  <c:v>57.4</c:v>
                </c:pt>
                <c:pt idx="8">
                  <c:v>28.3</c:v>
                </c:pt>
                <c:pt idx="9">
                  <c:v>21.4</c:v>
                </c:pt>
                <c:pt idx="10">
                  <c:v>20.7</c:v>
                </c:pt>
                <c:pt idx="11">
                  <c:v>20.100000000000001</c:v>
                </c:pt>
                <c:pt idx="12">
                  <c:v>18.8</c:v>
                </c:pt>
              </c:numCache>
            </c:numRef>
          </c:val>
          <c:extLst xmlns:c16r2="http://schemas.microsoft.com/office/drawing/2015/06/chart">
            <c:ext xmlns:c16="http://schemas.microsoft.com/office/drawing/2014/chart" uri="{C3380CC4-5D6E-409C-BE32-E72D297353CC}">
              <c16:uniqueId val="{00000000-D5E3-44A5-89BB-3BCFF9C1B502}"/>
            </c:ext>
          </c:extLst>
        </c:ser>
        <c:gapWidth val="269"/>
        <c:axId val="143641216"/>
        <c:axId val="143786368"/>
      </c:barChart>
      <c:catAx>
        <c:axId val="143641216"/>
        <c:scaling>
          <c:orientation val="minMax"/>
        </c:scaling>
        <c:axPos val="l"/>
        <c:majorGridlines>
          <c:spPr>
            <a:ln w="9525" cap="flat" cmpd="sng" algn="ctr">
              <a:solidFill>
                <a:schemeClr val="lt1">
                  <a:alpha val="25000"/>
                </a:schemeClr>
              </a:solidFill>
              <a:prstDash val="sysDot"/>
              <a:round/>
            </a:ln>
            <a:effectLst/>
          </c:spPr>
        </c:majorGridlines>
        <c:numFmt formatCode="General" sourceLinked="1"/>
        <c:majorTickMark val="none"/>
        <c:tickLblPos val="nextTo"/>
        <c:spPr>
          <a:noFill/>
          <a:ln w="3175" cap="flat" cmpd="sng" algn="ctr">
            <a:solidFill>
              <a:schemeClr val="accent1">
                <a:lumMod val="60000"/>
                <a:lumOff val="40000"/>
              </a:schemeClr>
            </a:solidFill>
            <a:round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800" b="1" i="0" u="none" strike="noStrike" kern="1200" cap="all" spc="150" normalizeH="0" baseline="0">
                <a:solidFill>
                  <a:schemeClr val="accent1">
                    <a:lumMod val="75000"/>
                  </a:schemeClr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43786368"/>
        <c:crosses val="autoZero"/>
        <c:auto val="1"/>
        <c:lblAlgn val="ctr"/>
        <c:lblOffset val="100"/>
      </c:catAx>
      <c:valAx>
        <c:axId val="143786368"/>
        <c:scaling>
          <c:orientation val="minMax"/>
        </c:scaling>
        <c:axPos val="b"/>
        <c:numFmt formatCode="#,##0.0" sourceLinked="1"/>
        <c:majorTickMark val="none"/>
        <c:tickLblPos val="nextTo"/>
        <c:spPr>
          <a:noFill/>
          <a:ln>
            <a:noFill/>
          </a:ln>
          <a:effectLst/>
        </c:spPr>
        <c:txPr>
          <a:bodyPr rot="-60000000" spcFirstLastPara="1" vertOverflow="ellipsis" vert="horz" wrap="square" anchor="ctr" anchorCtr="1"/>
          <a:lstStyle/>
          <a:p>
            <a:pPr>
              <a:defRPr sz="900" b="0" i="0" u="none" strike="noStrike" kern="1200" baseline="0">
                <a:solidFill>
                  <a:schemeClr val="lt1"/>
                </a:solidFill>
                <a:latin typeface="+mn-lt"/>
                <a:ea typeface="+mn-ea"/>
                <a:cs typeface="+mn-cs"/>
              </a:defRPr>
            </a:pPr>
            <a:endParaRPr lang="ru-RU"/>
          </a:p>
        </c:txPr>
        <c:crossAx val="143641216"/>
        <c:crosses val="autoZero"/>
        <c:crossBetween val="between"/>
      </c:valAx>
      <c:spPr>
        <a:noFill/>
        <a:ln>
          <a:noFill/>
        </a:ln>
        <a:effectLst/>
      </c:spPr>
    </c:plotArea>
    <c:plotVisOnly val="1"/>
    <c:dispBlanksAs val="gap"/>
    <c:extLst xmlns:c16r2="http://schemas.microsoft.com/office/drawing/2015/06/chart"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 w="9525" cap="flat" cmpd="sng" algn="ctr">
      <a:noFill/>
      <a:round/>
    </a:ln>
    <a:effectLst/>
  </c:spPr>
  <c:txPr>
    <a:bodyPr/>
    <a:lstStyle/>
    <a:p>
      <a:pPr>
        <a:defRPr/>
      </a:pPr>
      <a:endParaRPr lang="ru-RU"/>
    </a:p>
  </c:txPr>
  <c:externalData r:id="rId1"/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withinLinear" id="14">
  <a:schemeClr val="accent1"/>
</cs:colorStyle>
</file>

<file path=ppt/charts/style1.xml><?xml version="1.0" encoding="utf-8"?>
<cs:chartStyle xmlns:cs="http://schemas.microsoft.com/office/drawing/2012/chartStyle" xmlns:a="http://schemas.openxmlformats.org/drawingml/2006/main" id="20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00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000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900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</cs:dataPoint>
  <cs:dataPoint3D>
    <cs:lnRef idx="0"/>
    <cs:fillRef idx="1">
      <cs:styleClr val="auto"/>
    </cs:fillRef>
    <cs:effectRef idx="0"/>
    <cs:fontRef idx="minor">
      <a:schemeClr val="tx1"/>
    </cs:fontRef>
  </cs:dataPoint3D>
  <cs:dataPointLine>
    <cs:lnRef idx="0">
      <cs:styleClr val="auto"/>
    </cs:lnRef>
    <cs:fillRef idx="1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1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900" kern="1200"/>
  </cs:dataTable>
  <cs:downBar>
    <cs:lnRef idx="0"/>
    <cs:fillRef idx="0"/>
    <cs:effectRef idx="0"/>
    <cs:fontRef idx="minor">
      <a:schemeClr val="dk1"/>
    </cs:fontRef>
    <cs:spPr>
      <a:solidFill>
        <a:schemeClr val="dk1">
          <a:lumMod val="65000"/>
          <a:lumOff val="35000"/>
        </a:schemeClr>
      </a:solidFill>
      <a:ln w="9525">
        <a:solidFill>
          <a:schemeClr val="tx1">
            <a:lumMod val="65000"/>
            <a:lumOff val="35000"/>
          </a:schemeClr>
        </a:solidFill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75000"/>
            <a:lumOff val="25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400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trendlineLabel>
  <cs:upBar>
    <cs:lnRef idx="0"/>
    <cs:fillRef idx="0"/>
    <cs:effectRef idx="0"/>
    <cs:fontRef idx="minor">
      <a:schemeClr val="dk1"/>
    </cs:fontRef>
    <cs:spPr>
      <a:solidFill>
        <a:schemeClr val="lt1"/>
      </a:solidFill>
      <a:ln w="9525">
        <a:solidFill>
          <a:schemeClr val="tx1">
            <a:lumMod val="15000"/>
            <a:lumOff val="85000"/>
          </a:schemeClr>
        </a:solidFill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900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14">
  <cs:axisTitle>
    <cs:lnRef idx="0"/>
    <cs:fillRef idx="0"/>
    <cs:effectRef idx="0"/>
    <cs:fontRef idx="minor">
      <a:schemeClr val="lt1"/>
    </cs:fontRef>
    <cs:defRPr sz="900" b="1" kern="1200"/>
  </cs:axisTitle>
  <cs:categoryAxis>
    <cs:lnRef idx="0">
      <cs:styleClr val="0"/>
    </cs:lnRef>
    <cs:fillRef idx="0"/>
    <cs:effectRef idx="0"/>
    <cs:fontRef idx="minor">
      <a:schemeClr val="lt1"/>
    </cs:fontRef>
    <cs:spPr>
      <a:ln w="3175" cap="flat" cmpd="sng" algn="ctr">
        <a:solidFill>
          <a:schemeClr val="phClr">
            <a:lumMod val="60000"/>
            <a:lumOff val="40000"/>
          </a:schemeClr>
        </a:solidFill>
        <a:round/>
      </a:ln>
    </cs:spPr>
    <cs:defRPr sz="800" kern="1200" cap="all" spc="150" normalizeH="0" baseline="0"/>
  </cs:categoryAxis>
  <cs:chartArea>
    <cs:lnRef idx="0">
      <cs:styleClr val="0"/>
    </cs:lnRef>
    <cs:fillRef idx="0">
      <cs:styleClr val="0"/>
    </cs:fillRef>
    <cs:effectRef idx="0"/>
    <cs:fontRef idx="minor">
      <a:schemeClr val="dk1"/>
    </cs:fontRef>
    <cs:spPr>
      <a:solidFill>
        <a:schemeClr val="phClr"/>
      </a:solidFill>
      <a:ln w="9525" cap="flat" cmpd="sng" algn="ctr">
        <a:solidFill>
          <a:schemeClr val="phClr"/>
        </a:solidFill>
        <a:round/>
      </a:ln>
    </cs:spPr>
    <cs:defRPr sz="1000" kern="1200"/>
  </cs:chartArea>
  <cs:dataLabel>
    <cs:lnRef idx="0"/>
    <cs:fillRef idx="0">
      <cs:styleClr val="auto"/>
    </cs:fillRef>
    <cs:effectRef idx="0"/>
    <cs:fontRef idx="minor">
      <a:schemeClr val="lt1"/>
    </cs:fontRef>
    <cs:spPr>
      <a:solidFill>
        <a:schemeClr val="phClr">
          <a:alpha val="70000"/>
        </a:schemeClr>
      </a:solidFill>
    </cs:spPr>
    <cs:defRPr sz="900" kern="1200"/>
  </cs:dataLabel>
  <cs:dataLabelCallout>
    <cs:lnRef idx="0">
      <cs:styleClr val="auto"/>
    </cs:lnRef>
    <cs:fillRef idx="0"/>
    <cs:effectRef idx="0"/>
    <cs:fontRef idx="minor">
      <cs:styleClr val="auto"/>
    </cs:fontRef>
    <cs:spPr>
      <a:solidFill>
        <a:schemeClr val="lt1"/>
      </a:solidFill>
      <a:ln>
        <a:solidFill>
          <a:schemeClr val="phClr"/>
        </a:solidFill>
      </a:ln>
    </cs:spPr>
    <cs:defRPr sz="900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0">
      <cs:styleClr val="auto"/>
    </cs:fillRef>
    <cs:effectRef idx="0"/>
    <cs:fontRef idx="minor">
      <a:schemeClr val="dk1"/>
    </cs:fontRef>
    <cs:spPr>
      <a:pattFill prst="ltUpDiag">
        <a:fgClr>
          <a:schemeClr val="phClr"/>
        </a:fgClr>
        <a:bgClr>
          <a:schemeClr val="lt1"/>
        </a:bgClr>
      </a:pattFill>
    </cs:spPr>
  </cs:dataPoint>
  <cs:dataPoint3D>
    <cs:lnRef idx="0"/>
    <cs:fillRef idx="0">
      <cs:styleClr val="auto"/>
    </cs:fillRef>
    <cs:effectRef idx="0"/>
    <cs:fontRef idx="minor">
      <a:schemeClr val="dk1"/>
    </cs:fontRef>
    <cs:spPr>
      <a:pattFill prst="ltUpDiag">
        <a:fgClr>
          <a:schemeClr val="phClr"/>
        </a:fgClr>
        <a:bgClr>
          <a:schemeClr val="lt1"/>
        </a:bgClr>
      </a:pattFill>
    </cs:spPr>
  </cs:dataPoint3D>
  <cs:dataPointLine>
    <cs:lnRef idx="0">
      <cs:styleClr val="auto"/>
    </cs:lnRef>
    <cs:fillRef idx="0"/>
    <cs:effectRef idx="0">
      <cs:styleClr val="auto"/>
    </cs:effectRef>
    <cs:fontRef idx="minor">
      <a:schemeClr val="dk1"/>
    </cs:fontRef>
    <cs:spPr>
      <a:ln w="34925" cap="rnd">
        <a:solidFill>
          <a:schemeClr val="lt1"/>
        </a:solidFill>
        <a:round/>
      </a:ln>
      <a:effectLst>
        <a:outerShdw dist="25400" dir="2700000" algn="tl" rotWithShape="0">
          <a:schemeClr val="phClr"/>
        </a:outerShdw>
      </a:effectLst>
    </cs:spPr>
  </cs:dataPointLine>
  <cs:dataPointMarker>
    <cs:lnRef idx="0"/>
    <cs:fillRef idx="0">
      <cs:styleClr val="auto"/>
    </cs:fillRef>
    <cs:effectRef idx="0"/>
    <cs:fontRef idx="minor">
      <a:schemeClr val="dk1"/>
    </cs:fontRef>
    <cs:spPr>
      <a:solidFill>
        <a:schemeClr val="phClr"/>
      </a:solidFill>
      <a:ln w="22225">
        <a:solidFill>
          <a:schemeClr val="lt1"/>
        </a:solidFill>
        <a:round/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dk1"/>
    </cs:fontRef>
    <cs:spPr>
      <a:ln w="9525" cap="rnd">
        <a:solidFill>
          <a:schemeClr val="phClr"/>
        </a:solidFill>
        <a:round/>
      </a:ln>
    </cs:spPr>
  </cs:dataPointWireframe>
  <cs:dataTable>
    <cs:lnRef idx="0">
      <cs:styleClr val="0"/>
    </cs:lnRef>
    <cs:fillRef idx="0"/>
    <cs:effectRef idx="0"/>
    <cs:fontRef idx="minor">
      <a:schemeClr val="lt1"/>
    </cs:fontRef>
    <cs:spPr>
      <a:ln w="9525">
        <a:solidFill>
          <a:schemeClr val="phClr">
            <a:lumMod val="60000"/>
            <a:lumOff val="40000"/>
          </a:schemeClr>
        </a:solidFill>
      </a:ln>
    </cs:spPr>
    <cs:defRPr sz="900" kern="1200"/>
  </cs:dataTable>
  <cs:downBar>
    <cs:lnRef idx="0">
      <cs:styleClr val="0"/>
    </cs:lnRef>
    <cs:fillRef idx="0"/>
    <cs:effectRef idx="0"/>
    <cs:fontRef idx="minor">
      <a:schemeClr val="dk1"/>
    </cs:fontRef>
    <cs:spPr>
      <a:solidFill>
        <a:schemeClr val="dk1">
          <a:lumMod val="35000"/>
          <a:lumOff val="65000"/>
        </a:schemeClr>
      </a:solidFill>
      <a:ln w="9525">
        <a:solidFill>
          <a:schemeClr val="phClr">
            <a:lumMod val="60000"/>
            <a:lumOff val="40000"/>
          </a:schemeClr>
        </a:solidFill>
      </a:ln>
    </cs:spPr>
  </cs:downBar>
  <cs:dropLine>
    <cs:lnRef idx="0">
      <cs:styleClr val="0"/>
    </cs:lnRef>
    <cs:fillRef idx="0"/>
    <cs:effectRef idx="0"/>
    <cs:fontRef idx="minor">
      <a:schemeClr val="dk1"/>
    </cs:fontRef>
    <cs:spPr>
      <a:ln w="9525">
        <a:solidFill>
          <a:schemeClr val="phClr">
            <a:lumMod val="60000"/>
            <a:lumOff val="40000"/>
          </a:schemeClr>
        </a:solidFill>
        <a:prstDash val="dash"/>
      </a:ln>
    </cs:spPr>
  </cs:dropLine>
  <cs:errorBar>
    <cs:lnRef idx="0">
      <cs:styleClr val="0"/>
    </cs:lnRef>
    <cs:fillRef idx="0"/>
    <cs:effectRef idx="0"/>
    <cs:fontRef idx="minor">
      <a:schemeClr val="dk1"/>
    </cs:fontRef>
    <cs:spPr>
      <a:ln w="9525">
        <a:solidFill>
          <a:schemeClr val="phClr">
            <a:lumMod val="60000"/>
            <a:lumOff val="40000"/>
          </a:schemeClr>
        </a:solidFill>
        <a:round/>
      </a:ln>
      <a:effectLst>
        <a:glow rad="25400">
          <a:schemeClr val="lt1"/>
        </a:glow>
      </a:effectLst>
    </cs:spPr>
  </cs:errorBar>
  <cs:floor>
    <cs:lnRef idx="0"/>
    <cs:fillRef idx="0"/>
    <cs:effectRef idx="0"/>
    <cs:fontRef idx="minor">
      <a:schemeClr val="dk1"/>
    </cs:fontRef>
  </cs:floor>
  <cs:gridlineMajor>
    <cs:lnRef idx="0">
      <cs:styleClr val="0"/>
    </cs:lnRef>
    <cs:fillRef idx="0"/>
    <cs:effectRef idx="0"/>
    <cs:fontRef idx="minor">
      <a:schemeClr val="dk1"/>
    </cs:fontRef>
    <cs:spPr>
      <a:ln w="9525" cap="flat" cmpd="sng" algn="ctr">
        <a:solidFill>
          <a:schemeClr val="lt1">
            <a:alpha val="25000"/>
          </a:schemeClr>
        </a:solidFill>
        <a:round/>
      </a:ln>
    </cs:spPr>
  </cs:gridlineMajor>
  <cs:gridlineMinor>
    <cs:lnRef idx="0">
      <cs:styleClr val="0"/>
    </cs:lnRef>
    <cs:fillRef idx="0"/>
    <cs:effectRef idx="0"/>
    <cs:fontRef idx="minor">
      <a:schemeClr val="dk1"/>
    </cs:fontRef>
    <cs:spPr>
      <a:ln>
        <a:solidFill>
          <a:schemeClr val="lt1">
            <a:alpha val="10000"/>
          </a:schemeClr>
        </a:solidFill>
      </a:ln>
    </cs:spPr>
  </cs:gridlineMinor>
  <cs:hiLoLine>
    <cs:lnRef idx="0">
      <cs:styleClr val="0"/>
    </cs:lnRef>
    <cs:fillRef idx="0"/>
    <cs:effectRef idx="0"/>
    <cs:fontRef idx="minor">
      <a:schemeClr val="dk1"/>
    </cs:fontRef>
    <cs:spPr>
      <a:ln w="9525">
        <a:solidFill>
          <a:schemeClr val="phClr">
            <a:lumMod val="60000"/>
            <a:lumOff val="40000"/>
          </a:schemeClr>
        </a:solidFill>
        <a:prstDash val="dash"/>
      </a:ln>
    </cs:spPr>
  </cs:hiLoLine>
  <cs:leaderLine>
    <cs:lnRef idx="0">
      <cs:styleClr val="0"/>
    </cs:lnRef>
    <cs:fillRef idx="0"/>
    <cs:effectRef idx="0"/>
    <cs:fontRef idx="minor">
      <a:schemeClr val="dk1"/>
    </cs:fontRef>
    <cs:spPr>
      <a:ln w="9525">
        <a:solidFill>
          <a:schemeClr val="phClr">
            <a:lumMod val="60000"/>
            <a:lumOff val="40000"/>
          </a:schemeClr>
        </a:solidFill>
      </a:ln>
    </cs:spPr>
  </cs:leaderLine>
  <cs:legend>
    <cs:lnRef idx="0"/>
    <cs:fillRef idx="0"/>
    <cs:effectRef idx="0"/>
    <cs:fontRef idx="minor">
      <a:schemeClr val="lt1"/>
    </cs:fontRef>
    <cs:defRPr sz="900" kern="1200"/>
  </cs:legend>
  <cs:plotArea>
    <cs:lnRef idx="0"/>
    <cs:fillRef idx="0"/>
    <cs:effectRef idx="0"/>
    <cs:fontRef idx="minor">
      <a:schemeClr val="dk1"/>
    </cs:fontRef>
  </cs:plotArea>
  <cs:plotArea3D>
    <cs:lnRef idx="0"/>
    <cs:fillRef idx="0"/>
    <cs:effectRef idx="0"/>
    <cs:fontRef idx="minor">
      <a:schemeClr val="dk1"/>
    </cs:fontRef>
  </cs:plotArea3D>
  <cs:seriesAxis>
    <cs:lnRef idx="0">
      <cs:styleClr val="0"/>
    </cs:lnRef>
    <cs:fillRef idx="0"/>
    <cs:effectRef idx="0"/>
    <cs:fontRef idx="minor">
      <a:schemeClr val="lt1"/>
    </cs:fontRef>
    <cs:spPr>
      <a:ln w="3175" cap="flat" cmpd="sng" algn="ctr">
        <a:solidFill>
          <a:schemeClr val="phClr">
            <a:lumMod val="60000"/>
            <a:lumOff val="40000"/>
          </a:schemeClr>
        </a:solidFill>
        <a:round/>
      </a:ln>
    </cs:spPr>
    <cs:defRPr sz="900" kern="1200"/>
  </cs:seriesAxis>
  <cs:seriesLine>
    <cs:lnRef idx="0">
      <cs:styleClr val="0"/>
    </cs:lnRef>
    <cs:fillRef idx="0"/>
    <cs:effectRef idx="0"/>
    <cs:fontRef idx="minor">
      <a:schemeClr val="dk1"/>
    </cs:fontRef>
    <cs:spPr>
      <a:ln w="9525">
        <a:solidFill>
          <a:schemeClr val="phClr">
            <a:lumMod val="60000"/>
            <a:lumOff val="40000"/>
            <a:tint val="50000"/>
          </a:schemeClr>
        </a:solidFill>
        <a:prstDash val="dash"/>
      </a:ln>
    </cs:spPr>
  </cs:seriesLine>
  <cs:title>
    <cs:lnRef idx="0"/>
    <cs:fillRef idx="0"/>
    <cs:effectRef idx="0"/>
    <cs:fontRef idx="minor">
      <a:schemeClr val="lt1"/>
    </cs:fontRef>
    <cs:defRPr sz="1500" b="1" kern="1200" cap="all" spc="100" normalizeH="0" baseline="0"/>
  </cs:title>
  <cs:trendline>
    <cs:lnRef idx="0"/>
    <cs:fillRef idx="0"/>
    <cs:effectRef idx="0"/>
    <cs:fontRef idx="minor">
      <a:schemeClr val="dk1"/>
    </cs:fontRef>
    <cs:spPr>
      <a:ln w="28575" cap="rnd">
        <a:solidFill>
          <a:schemeClr val="lt1">
            <a:alpha val="50000"/>
          </a:schemeClr>
        </a:solidFill>
        <a:round/>
      </a:ln>
    </cs:spPr>
  </cs:trendline>
  <cs:trendlineLabel>
    <cs:lnRef idx="0"/>
    <cs:fillRef idx="0"/>
    <cs:effectRef idx="0"/>
    <cs:fontRef idx="minor">
      <a:schemeClr val="lt1"/>
    </cs:fontRef>
    <cs:defRPr sz="900" kern="1200"/>
  </cs:trendlineLabel>
  <cs:upBar>
    <cs:lnRef idx="0">
      <cs:styleClr val="0"/>
    </cs:lnRef>
    <cs:fillRef idx="0"/>
    <cs:effectRef idx="0"/>
    <cs:fontRef idx="minor">
      <a:schemeClr val="dk1"/>
    </cs:fontRef>
    <cs:spPr>
      <a:solidFill>
        <a:schemeClr val="lt1">
          <a:lumMod val="95000"/>
        </a:schemeClr>
      </a:solidFill>
      <a:ln w="9525">
        <a:solidFill>
          <a:schemeClr val="phClr">
            <a:lumMod val="60000"/>
            <a:lumOff val="40000"/>
          </a:schemeClr>
        </a:solidFill>
      </a:ln>
    </cs:spPr>
  </cs:upBar>
  <cs:valueAxis>
    <cs:lnRef idx="0"/>
    <cs:fillRef idx="0"/>
    <cs:effectRef idx="0"/>
    <cs:fontRef idx="minor">
      <a:schemeClr val="lt1"/>
    </cs:fontRef>
    <cs:defRPr sz="900" kern="1200"/>
  </cs:valueAxis>
  <cs:wall>
    <cs:lnRef idx="0"/>
    <cs:fillRef idx="0"/>
    <cs:effectRef idx="0"/>
    <cs:fontRef idx="minor">
      <a:schemeClr val="dk1"/>
    </cs:fontRef>
  </cs:wall>
</cs:chartStyle>
</file>

<file path=ppt/diagrams/colors1.xml><?xml version="1.0" encoding="utf-8"?>
<dgm:colorsDef xmlns:dgm="http://schemas.openxmlformats.org/drawingml/2006/diagram" xmlns:a="http://schemas.openxmlformats.org/drawingml/2006/main" uniqueId="urn:microsoft.com/office/officeart/2005/8/colors/colorful5">
  <dgm:title val=""/>
  <dgm:desc val=""/>
  <dgm:catLst>
    <dgm:cat type="colorful" pri="105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5"/>
      <a:schemeClr val="accent6"/>
    </dgm:fillClrLst>
    <dgm:linClrLst>
      <a:schemeClr val="accent5"/>
      <a:schemeClr val="accent6"/>
    </dgm:linClrLst>
    <dgm:effectClrLst/>
    <dgm:txLinClrLst/>
    <dgm:txFillClrLst/>
    <dgm:txEffectClrLst/>
  </dgm:styleLbl>
  <dgm:styleLbl name="lnNode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5">
        <a:alpha val="5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5">
        <a:tint val="50000"/>
      </a:schemeClr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5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SibTrans2D1">
    <dgm:fillClrLst>
      <a:schemeClr val="accent5"/>
      <a:schemeClr val="accent6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1D1">
    <dgm:fillClrLst/>
    <dgm:linClrLst>
      <a:schemeClr val="accent5"/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5"/>
    </dgm:fillClrLst>
    <dgm:linClrLst meth="repeat">
      <a:schemeClr val="accent5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5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>
        <a:shade val="80000"/>
      </a:schemeClr>
    </dgm:linClrLst>
    <dgm:effectClrLst/>
    <dgm:txLinClrLst/>
    <dgm:txFillClrLst/>
    <dgm:txEffectClrLst/>
  </dgm:styleLbl>
  <dgm:styleLbl name="asst2">
    <dgm:fillClrLst>
      <a:schemeClr val="accent1"/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5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4">
    <dgm:fillClrLst meth="repeat">
      <a:schemeClr val="accent1"/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5"/>
    </dgm:fillClrLst>
    <dgm:linClrLst meth="repeat">
      <a:schemeClr val="accent5"/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1"/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5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>
      <a:schemeClr val="accent5"/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5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>
      <a:schemeClr val="accent5">
        <a:tint val="40000"/>
        <a:alpha val="90000"/>
      </a:schemeClr>
      <a:schemeClr val="accent6">
        <a:tint val="40000"/>
        <a:alpha val="90000"/>
      </a:schemeClr>
    </dgm:fillClrLst>
    <dgm:linClrLst>
      <a:schemeClr val="accent5">
        <a:tint val="40000"/>
        <a:alpha val="90000"/>
      </a:schemeClr>
      <a:schemeClr val="accent6">
        <a:tint val="40000"/>
        <a:alpha val="9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>
      <a:schemeClr val="accent1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5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5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5">
        <a:tint val="50000"/>
        <a:alpha val="40000"/>
      </a:schemeClr>
    </dgm:fillClrLst>
    <dgm:linClrLst meth="repeat">
      <a:schemeClr val="accent5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5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2.xml><?xml version="1.0" encoding="utf-8"?>
<dgm:colorsDef xmlns:dgm="http://schemas.openxmlformats.org/drawingml/2006/diagram" xmlns:a="http://schemas.openxmlformats.org/drawingml/2006/main" uniqueId="urn:microsoft.com/office/officeart/2005/8/colors/accent4_2">
  <dgm:title val=""/>
  <dgm:desc val=""/>
  <dgm:catLst>
    <dgm:cat type="accent4" pri="11200"/>
  </dgm:catLst>
  <dgm:styleLbl name="node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4"/>
    </dgm:fillClrLst>
    <dgm:linClrLst meth="repeat">
      <a:schemeClr val="accent4"/>
    </dgm:linClrLst>
    <dgm:effectClrLst/>
    <dgm:txLinClrLst/>
    <dgm:txFillClrLst/>
    <dgm:txEffectClrLst/>
  </dgm:styleLbl>
  <dgm:styleLbl name="lnNode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4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4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4"/>
    </dgm:fillClrLst>
    <dgm:linClrLst meth="repeat">
      <a:schemeClr val="accent4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4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4">
        <a:tint val="60000"/>
      </a:schemeClr>
    </dgm:fillClrLst>
    <dgm:linClrLst meth="repeat">
      <a:schemeClr val="accent4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4"/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4"/>
    </dgm:fillClrLst>
    <dgm:linClrLst meth="repeat">
      <a:schemeClr val="accent4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4"/>
    </dgm:fillClrLst>
    <dgm:linClrLst meth="repeat">
      <a:schemeClr val="accent4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4">
        <a:alpha val="90000"/>
        <a:tint val="40000"/>
      </a:schemeClr>
    </dgm:fillClrLst>
    <dgm:linClrLst meth="repeat">
      <a:schemeClr val="accent4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4">
        <a:tint val="40000"/>
      </a:schemeClr>
    </dgm:fillClrLst>
    <dgm:linClrLst meth="repeat">
      <a:schemeClr val="accent4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4">
        <a:shade val="8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4">
        <a:tint val="50000"/>
        <a:alpha val="40000"/>
      </a:schemeClr>
    </dgm:fillClrLst>
    <dgm:linClrLst meth="repeat">
      <a:schemeClr val="accent4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4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3.xml><?xml version="1.0" encoding="utf-8"?>
<dgm:colorsDef xmlns:dgm="http://schemas.openxmlformats.org/drawingml/2006/diagram" xmlns:a="http://schemas.openxmlformats.org/drawingml/2006/main" uniqueId="urn:microsoft.com/office/officeart/2005/8/colors/accent2_2">
  <dgm:title val=""/>
  <dgm:desc val=""/>
  <dgm:catLst>
    <dgm:cat type="accent2" pri="11200"/>
  </dgm:catLst>
  <dgm:styleLbl name="node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2"/>
    </dgm:fillClrLst>
    <dgm:linClrLst meth="repeat">
      <a:schemeClr val="accent2"/>
    </dgm:linClrLst>
    <dgm:effectClrLst/>
    <dgm:txLinClrLst/>
    <dgm:txFillClrLst/>
    <dgm:txEffectClrLst/>
  </dgm:styleLbl>
  <dgm:styleLbl name="lnNode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2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2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2"/>
    </dgm:fillClrLst>
    <dgm:linClrLst meth="repeat">
      <a:schemeClr val="accent2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2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2">
        <a:tint val="60000"/>
      </a:schemeClr>
    </dgm:fillClrLst>
    <dgm:linClrLst meth="repeat">
      <a:schemeClr val="accent2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2"/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2"/>
    </dgm:fillClrLst>
    <dgm:linClrLst meth="repeat">
      <a:schemeClr val="accent2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2"/>
    </dgm:fillClrLst>
    <dgm:linClrLst meth="repeat">
      <a:schemeClr val="accent2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2">
        <a:alpha val="90000"/>
        <a:tint val="40000"/>
      </a:schemeClr>
    </dgm:fillClrLst>
    <dgm:linClrLst meth="repeat">
      <a:schemeClr val="accent2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2">
        <a:tint val="40000"/>
      </a:schemeClr>
    </dgm:fillClrLst>
    <dgm:linClrLst meth="repeat">
      <a:schemeClr val="accent2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2">
        <a:shade val="8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2">
        <a:tint val="50000"/>
        <a:alpha val="40000"/>
      </a:schemeClr>
    </dgm:fillClrLst>
    <dgm:linClrLst meth="repeat">
      <a:schemeClr val="accent2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2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4.xml><?xml version="1.0" encoding="utf-8"?>
<dgm:colorsDef xmlns:dgm="http://schemas.openxmlformats.org/drawingml/2006/diagram" xmlns:a="http://schemas.openxmlformats.org/drawingml/2006/main" uniqueId="urn:microsoft.com/office/officeart/2005/8/colors/accent3_2">
  <dgm:title val=""/>
  <dgm:desc val=""/>
  <dgm:catLst>
    <dgm:cat type="accent3" pri="11200"/>
  </dgm:catLst>
  <dgm:styleLbl name="node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3"/>
    </dgm:fillClrLst>
    <dgm:linClrLst meth="repeat">
      <a:schemeClr val="accent3"/>
    </dgm:linClrLst>
    <dgm:effectClrLst/>
    <dgm:txLinClrLst/>
    <dgm:txFillClrLst/>
    <dgm:txEffectClrLst/>
  </dgm:styleLbl>
  <dgm:styleLbl name="lnNode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3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3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3"/>
    </dgm:fillClrLst>
    <dgm:linClrLst meth="repeat">
      <a:schemeClr val="accent3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3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3">
        <a:tint val="60000"/>
      </a:schemeClr>
    </dgm:fillClrLst>
    <dgm:linClrLst meth="repeat">
      <a:schemeClr val="accent3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3"/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3"/>
    </dgm:fillClrLst>
    <dgm:linClrLst meth="repeat">
      <a:schemeClr val="accent3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3"/>
    </dgm:fillClrLst>
    <dgm:linClrLst meth="repeat">
      <a:schemeClr val="accent3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3">
        <a:alpha val="90000"/>
        <a:tint val="40000"/>
      </a:schemeClr>
    </dgm:fillClrLst>
    <dgm:linClrLst meth="repeat">
      <a:schemeClr val="accent3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3">
        <a:tint val="40000"/>
      </a:schemeClr>
    </dgm:fillClrLst>
    <dgm:linClrLst meth="repeat">
      <a:schemeClr val="accent3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3">
        <a:shade val="8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3">
        <a:tint val="50000"/>
        <a:alpha val="40000"/>
      </a:schemeClr>
    </dgm:fillClrLst>
    <dgm:linClrLst meth="repeat">
      <a:schemeClr val="accent3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3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5.xml><?xml version="1.0" encoding="utf-8"?>
<dgm:colorsDef xmlns:dgm="http://schemas.openxmlformats.org/drawingml/2006/diagram" xmlns:a="http://schemas.openxmlformats.org/drawingml/2006/main" uniqueId="urn:microsoft.com/office/officeart/2005/8/colors/accent6_5">
  <dgm:title val=""/>
  <dgm:desc val=""/>
  <dgm:catLst>
    <dgm:cat type="accent6" pri="11500"/>
  </dgm:catLst>
  <dgm:styleLbl name="node0">
    <dgm:fillClrLst meth="cycle"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alignNode1">
    <dgm:fillClrLst>
      <a:schemeClr val="accent6">
        <a:alpha val="90000"/>
      </a:schemeClr>
      <a:schemeClr val="accent6">
        <a:alpha val="5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/>
    <dgm:txEffectClrLst/>
  </dgm:styleLbl>
  <dgm:styleLbl name="node1">
    <dgm:fillClrLst>
      <a:schemeClr val="accent6">
        <a:alpha val="90000"/>
      </a:schemeClr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lnNode1">
    <dgm:fillClrLst>
      <a:schemeClr val="accent6">
        <a:shade val="90000"/>
      </a:schemeClr>
      <a:schemeClr val="accent6">
        <a:tint val="50000"/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vennNode1">
    <dgm:fillClrLst>
      <a:schemeClr val="accent6">
        <a:shade val="80000"/>
        <a:alpha val="50000"/>
      </a:schemeClr>
      <a:schemeClr val="accent6">
        <a:alpha val="8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node3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4">
    <dgm:fillClrLst>
      <a:schemeClr val="accent6">
        <a:alpha val="30000"/>
      </a:schemeClr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>
      <a:schemeClr val="accent6">
        <a:tint val="50000"/>
        <a:alpha val="90000"/>
      </a:schemeClr>
      <a:schemeClr val="accent6">
        <a:tint val="20000"/>
        <a:alpha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>
      <a:schemeClr val="accent6">
        <a:tint val="50000"/>
      </a:schemeClr>
      <a:schemeClr val="accent6">
        <a:tint val="2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f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bgSibTrans2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/>
    <dgm:txEffectClrLst/>
  </dgm:styleLbl>
  <dgm:styleLbl name="sibTrans1D1">
    <dgm:fillClrLst>
      <a:schemeClr val="accent6">
        <a:shade val="90000"/>
      </a:schemeClr>
      <a:schemeClr val="accent6">
        <a:tint val="50000"/>
      </a:schemeClr>
    </dgm:fillClrLst>
    <dgm:linClrLst>
      <a:schemeClr val="accent6">
        <a:shade val="90000"/>
      </a:schemeClr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2">
    <dgm:fillClrLst>
      <a:schemeClr val="accent6">
        <a:alpha val="90000"/>
      </a:schemeClr>
    </dgm:fillClrLst>
    <dgm:linClrLst meth="repeat">
      <a:schemeClr val="lt1"/>
    </dgm:linClrLst>
    <dgm:effectClrLst/>
    <dgm:txLinClrLst/>
    <dgm:txFillClrLst/>
    <dgm:txEffectClrLst/>
  </dgm:styleLbl>
  <dgm:styleLbl name="asst3">
    <dgm:fillClrLst>
      <a:schemeClr val="accent6">
        <a:alpha val="70000"/>
      </a:schemeClr>
    </dgm:fillClrLst>
    <dgm:linClrLst meth="repeat">
      <a:schemeClr val="lt1"/>
    </dgm:linClrLst>
    <dgm:effectClrLst/>
    <dgm:txLinClrLst/>
    <dgm:txFillClrLst/>
    <dgm:txEffectClrLst/>
  </dgm:styleLbl>
  <dgm:styleLbl name="asst4">
    <dgm:fillClrLst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/>
    <dgm:txEffectClrLst/>
  </dgm:styleLbl>
  <dgm:styleLbl name="parChTrans2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/>
    <dgm:txEffectClrLst/>
  </dgm:styleLbl>
  <dgm:styleLbl name="parChTrans2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/>
    <dgm:txEffectClrLst/>
  </dgm:styleLbl>
  <dgm:styleLbl name="parChTrans2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parChTrans1D1">
    <dgm:fillClrLst meth="repeat">
      <a:schemeClr val="accent6">
        <a:shade val="8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>
        <a:tint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>
        <a:tint val="7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>
        <a:tint val="5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>
      <a:schemeClr val="accent6">
        <a:alpha val="90000"/>
      </a:schemeClr>
      <a:schemeClr val="accent6">
        <a:alpha val="50000"/>
      </a:schemeClr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>
      <a:schemeClr val="accent6">
        <a:alpha val="90000"/>
        <a:tint val="40000"/>
      </a:schemeClr>
      <a:schemeClr val="accent6">
        <a:alpha val="5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>
        <a:shade val="80000"/>
      </a:schemeClr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>
        <a:tint val="90000"/>
      </a:schemeClr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>
        <a:tint val="70000"/>
      </a:schemeClr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>
        <a:tint val="50000"/>
      </a:schemeClr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dk1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90000"/>
      </a:schemeClr>
    </dgm:fillClrLst>
    <dgm:linClrLst meth="repeat">
      <a:schemeClr val="dk1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4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colors6.xml><?xml version="1.0" encoding="utf-8"?>
<dgm:colorsDef xmlns:dgm="http://schemas.openxmlformats.org/drawingml/2006/diagram" xmlns:a="http://schemas.openxmlformats.org/drawingml/2006/main" uniqueId="urn:microsoft.com/office/officeart/2005/8/colors/accent6_2">
  <dgm:title val=""/>
  <dgm:desc val=""/>
  <dgm:catLst>
    <dgm:cat type="accent6" pri="11200"/>
  </dgm:catLst>
  <dgm:styleLbl name="node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lignNode1">
    <dgm:fillClrLst meth="repeat">
      <a:schemeClr val="accent6"/>
    </dgm:fillClrLst>
    <dgm:linClrLst meth="repeat">
      <a:schemeClr val="accent6"/>
    </dgm:linClrLst>
    <dgm:effectClrLst/>
    <dgm:txLinClrLst/>
    <dgm:txFillClrLst/>
    <dgm:txEffectClrLst/>
  </dgm:styleLbl>
  <dgm:styleLbl name="lnNode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vennNode1">
    <dgm:fillClrLst meth="repeat">
      <a:schemeClr val="accent6">
        <a:alpha val="50000"/>
      </a:schemeClr>
    </dgm:fillClrLst>
    <dgm:linClrLst meth="repeat">
      <a:schemeClr val="lt1"/>
    </dgm:linClrLst>
    <dgm:effectClrLst/>
    <dgm:txLinClrLst/>
    <dgm:txFillClrLst/>
    <dgm:txEffectClrLst/>
  </dgm:styleLbl>
  <dgm:styleLbl name="node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node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f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align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bgImgPlace1">
    <dgm:fillClrLst meth="repeat">
      <a:schemeClr val="accent6">
        <a:tint val="50000"/>
      </a:schemeClr>
    </dgm:fillClrLst>
    <dgm:linClrLst meth="repeat">
      <a:schemeClr val="lt1"/>
    </dgm:linClrLst>
    <dgm:effectClrLst/>
    <dgm:txLinClrLst/>
    <dgm:txFillClrLst meth="repeat">
      <a:schemeClr val="lt1"/>
    </dgm:txFillClrLst>
    <dgm:txEffectClrLst/>
  </dgm:styleLbl>
  <dgm:styleLbl name="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f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bgSib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/>
    <dgm:txEffectClrLst/>
  </dgm:styleLbl>
  <dgm:styleLbl name="sibTrans1D1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tx1"/>
    </dgm:txFillClrLst>
    <dgm:txEffectClrLst/>
  </dgm:styleLbl>
  <dgm:styleLbl name="callout">
    <dgm:fillClrLst meth="repeat">
      <a:schemeClr val="accent6"/>
    </dgm:fillClrLst>
    <dgm:linClrLst meth="repeat">
      <a:schemeClr val="accent6">
        <a:tint val="50000"/>
      </a:schemeClr>
    </dgm:linClrLst>
    <dgm:effectClrLst/>
    <dgm:txLinClrLst/>
    <dgm:txFillClrLst meth="repeat">
      <a:schemeClr val="tx1"/>
    </dgm:txFillClrLst>
    <dgm:txEffectClrLst/>
  </dgm:styleLbl>
  <dgm:styleLbl name="asst0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1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2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3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asst4">
    <dgm:fillClrLst meth="repeat">
      <a:schemeClr val="accent6"/>
    </dgm:fillClrLst>
    <dgm:linClrLst meth="repeat">
      <a:schemeClr val="lt1"/>
    </dgm:linClrLst>
    <dgm:effectClrLst/>
    <dgm:txLinClrLst/>
    <dgm:txFillClrLst/>
    <dgm:txEffectClrLst/>
  </dgm:styleLbl>
  <dgm:styleLbl name="parChTrans2D1">
    <dgm:fillClrLst meth="repeat">
      <a:schemeClr val="accent6">
        <a:tint val="60000"/>
      </a:schemeClr>
    </dgm:fillClrLst>
    <dgm:linClrLst meth="repeat">
      <a:schemeClr val="accent6">
        <a:tint val="60000"/>
      </a:schemeClr>
    </dgm:linClrLst>
    <dgm:effectClrLst/>
    <dgm:txLinClrLst/>
    <dgm:txFillClrLst meth="repeat">
      <a:schemeClr val="lt1"/>
    </dgm:txFillClrLst>
    <dgm:txEffectClrLst/>
  </dgm:styleLbl>
  <dgm:styleLbl name="parChTrans2D2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3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2D4">
    <dgm:fillClrLst meth="repeat">
      <a:schemeClr val="accent6"/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parChTrans1D1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2">
    <dgm:fillClrLst meth="repeat">
      <a:schemeClr val="accent6"/>
    </dgm:fillClrLst>
    <dgm:linClrLst meth="repeat">
      <a:schemeClr val="accent6">
        <a:shade val="60000"/>
      </a:schemeClr>
    </dgm:linClrLst>
    <dgm:effectClrLst/>
    <dgm:txLinClrLst/>
    <dgm:txFillClrLst meth="repeat">
      <a:schemeClr val="tx1"/>
    </dgm:txFillClrLst>
    <dgm:txEffectClrLst/>
  </dgm:styleLbl>
  <dgm:styleLbl name="parChTrans1D3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parChTrans1D4">
    <dgm:fillClrLst meth="repeat">
      <a:schemeClr val="accent6"/>
    </dgm:fillClrLst>
    <dgm:linClrLst meth="repeat">
      <a:schemeClr val="accent6">
        <a:shade val="80000"/>
      </a:schemeClr>
    </dgm:linClrLst>
    <dgm:effectClrLst/>
    <dgm:txLinClrLst/>
    <dgm:txFillClrLst meth="repeat">
      <a:schemeClr val="tx1"/>
    </dgm:txFillClrLst>
    <dgm:txEffectClrLst/>
  </dgm:styleLbl>
  <dgm:styleLbl name="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conF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align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trAlignAcc1">
    <dgm:fillClrLst meth="repeat">
      <a:schemeClr val="lt1">
        <a:alpha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Acc1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F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Align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solidBgAcc1">
    <dgm:fillClrLst meth="repeat">
      <a:schemeClr val="lt1"/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align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bgAccFollowNode1">
    <dgm:fillClrLst meth="repeat">
      <a:schemeClr val="accent6">
        <a:alpha val="90000"/>
        <a:tint val="40000"/>
      </a:schemeClr>
    </dgm:fillClrLst>
    <dgm:linClrLst meth="repeat">
      <a:schemeClr val="accent6">
        <a:alpha val="90000"/>
        <a:tint val="40000"/>
      </a:schemeClr>
    </dgm:linClrLst>
    <dgm:effectClrLst/>
    <dgm:txLinClrLst/>
    <dgm:txFillClrLst meth="repeat">
      <a:schemeClr val="dk1"/>
    </dgm:txFillClrLst>
    <dgm:txEffectClrLst/>
  </dgm:styleLbl>
  <dgm:styleLbl name="fgAcc0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2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3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fgAcc4">
    <dgm:fillClrLst meth="repeat">
      <a:schemeClr val="lt1">
        <a:alpha val="9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bgShp">
    <dgm:fillClrLst meth="repeat">
      <a:schemeClr val="accent6">
        <a:tint val="40000"/>
      </a:schemeClr>
    </dgm:fillClrLst>
    <dgm:linClrLst meth="repeat">
      <a:schemeClr val="accent6"/>
    </dgm:linClrLst>
    <dgm:effectClrLst/>
    <dgm:txLinClrLst/>
    <dgm:txFillClrLst meth="repeat">
      <a:schemeClr val="dk1"/>
    </dgm:txFillClrLst>
    <dgm:txEffectClrLst/>
  </dgm:styleLbl>
  <dgm:styleLbl name="dkBgShp">
    <dgm:fillClrLst meth="repeat">
      <a:schemeClr val="accent6">
        <a:shade val="8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trBgShp">
    <dgm:fillClrLst meth="repeat">
      <a:schemeClr val="accent6">
        <a:tint val="50000"/>
        <a:alpha val="40000"/>
      </a:schemeClr>
    </dgm:fillClrLst>
    <dgm:linClrLst meth="repeat">
      <a:schemeClr val="accent6"/>
    </dgm:linClrLst>
    <dgm:effectClrLst/>
    <dgm:txLinClrLst/>
    <dgm:txFillClrLst meth="repeat">
      <a:schemeClr val="lt1"/>
    </dgm:txFillClrLst>
    <dgm:txEffectClrLst/>
  </dgm:styleLbl>
  <dgm:styleLbl name="fgShp">
    <dgm:fillClrLst meth="repeat">
      <a:schemeClr val="accent6">
        <a:tint val="60000"/>
      </a:schemeClr>
    </dgm:fillClrLst>
    <dgm:linClrLst meth="repeat">
      <a:schemeClr val="lt1"/>
    </dgm:linClrLst>
    <dgm:effectClrLst/>
    <dgm:txLinClrLst/>
    <dgm:txFillClrLst meth="repeat">
      <a:schemeClr val="dk1"/>
    </dgm:txFillClrLst>
    <dgm:txEffectClrLst/>
  </dgm:styleLbl>
  <dgm:styleLbl name="revTx">
    <dgm:fillClrLst meth="repeat">
      <a:schemeClr val="lt1">
        <a:alpha val="0"/>
      </a:schemeClr>
    </dgm:fillClrLst>
    <dgm:linClrLst meth="repeat">
      <a:schemeClr val="dk1">
        <a:alpha val="0"/>
      </a:schemeClr>
    </dgm:linClrLst>
    <dgm:effectClrLst/>
    <dgm:txLinClrLst/>
    <dgm:txFillClrLst meth="repeat">
      <a:schemeClr val="tx1"/>
    </dgm:txFillClrLst>
    <dgm:txEffectClrLst/>
  </dgm:styleLbl>
</dgm:colorsDef>
</file>

<file path=ppt/diagrams/data1.xml><?xml version="1.0" encoding="utf-8"?>
<dgm:dataModel xmlns:dgm="http://schemas.openxmlformats.org/drawingml/2006/diagram" xmlns:a="http://schemas.openxmlformats.org/drawingml/2006/main">
  <dgm:ptLst>
    <dgm:pt modelId="{37694391-5AC1-4FD0-94A5-120A855D2E1D}" type="doc">
      <dgm:prSet loTypeId="urn:microsoft.com/office/officeart/2005/8/layout/hProcess3" loCatId="process" qsTypeId="urn:microsoft.com/office/officeart/2005/8/quickstyle/3d2#15" qsCatId="3D" csTypeId="urn:microsoft.com/office/officeart/2005/8/colors/colorful5" csCatId="colorful" phldr="1"/>
      <dgm:spPr/>
    </dgm:pt>
    <dgm:pt modelId="{EE2AB700-4AEE-42F3-BB28-D1EB6B0EE0FB}">
      <dgm:prSet phldrT="[Текст]"/>
      <dgm:spPr/>
      <dgm:t>
        <a:bodyPr/>
        <a:lstStyle/>
        <a:p>
          <a:r>
            <a:rPr lang="ru-RU" b="1" i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Показатели «Валовая добавленная стоимость, создаваемая в отраслях туризма», «Валовая добавленная стоимость, создаваемая непосредственно в туризме» и остальные показатели по Вспомогательному счету туризму</a:t>
          </a:r>
          <a:endParaRPr lang="ru-RU" b="1" dirty="0">
            <a:solidFill>
              <a:srgbClr val="002060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1A27FF1-8F87-4EE5-AE8A-E2D33CDEAB5F}" type="parTrans" cxnId="{CAB97DAB-B377-4311-B7C1-CD668330B821}">
      <dgm:prSet/>
      <dgm:spPr/>
      <dgm:t>
        <a:bodyPr/>
        <a:lstStyle/>
        <a:p>
          <a:endParaRPr lang="ru-RU"/>
        </a:p>
      </dgm:t>
    </dgm:pt>
    <dgm:pt modelId="{669136D9-8B5C-430D-AC6C-9026D7A5218C}" type="sibTrans" cxnId="{CAB97DAB-B377-4311-B7C1-CD668330B821}">
      <dgm:prSet/>
      <dgm:spPr/>
      <dgm:t>
        <a:bodyPr/>
        <a:lstStyle/>
        <a:p>
          <a:endParaRPr lang="ru-RU"/>
        </a:p>
      </dgm:t>
    </dgm:pt>
    <dgm:pt modelId="{02A44902-BE8D-4690-A734-D170DB4064B6}" type="pres">
      <dgm:prSet presAssocID="{37694391-5AC1-4FD0-94A5-120A855D2E1D}" presName="Name0" presStyleCnt="0">
        <dgm:presLayoutVars>
          <dgm:dir/>
          <dgm:animLvl val="lvl"/>
          <dgm:resizeHandles val="exact"/>
        </dgm:presLayoutVars>
      </dgm:prSet>
      <dgm:spPr/>
    </dgm:pt>
    <dgm:pt modelId="{F67B3A75-ECE4-4DAC-AF85-5F12B335C6C0}" type="pres">
      <dgm:prSet presAssocID="{37694391-5AC1-4FD0-94A5-120A855D2E1D}" presName="dummy" presStyleCnt="0"/>
      <dgm:spPr/>
    </dgm:pt>
    <dgm:pt modelId="{9FEAC01D-6CE0-4E34-BCD3-B524AB81DB11}" type="pres">
      <dgm:prSet presAssocID="{37694391-5AC1-4FD0-94A5-120A855D2E1D}" presName="linH" presStyleCnt="0"/>
      <dgm:spPr/>
    </dgm:pt>
    <dgm:pt modelId="{DF4D0657-E131-4821-AA78-22D5A40FE68C}" type="pres">
      <dgm:prSet presAssocID="{37694391-5AC1-4FD0-94A5-120A855D2E1D}" presName="padding1" presStyleCnt="0"/>
      <dgm:spPr/>
    </dgm:pt>
    <dgm:pt modelId="{F9A90AF9-A59C-4BBF-83FA-DD92E914CE94}" type="pres">
      <dgm:prSet presAssocID="{EE2AB700-4AEE-42F3-BB28-D1EB6B0EE0FB}" presName="linV" presStyleCnt="0"/>
      <dgm:spPr/>
    </dgm:pt>
    <dgm:pt modelId="{4EFC1FF5-B218-410A-AF67-B61EEAD7B468}" type="pres">
      <dgm:prSet presAssocID="{EE2AB700-4AEE-42F3-BB28-D1EB6B0EE0FB}" presName="spVertical1" presStyleCnt="0"/>
      <dgm:spPr/>
    </dgm:pt>
    <dgm:pt modelId="{F7DACB04-0AB0-4CFD-8B50-9581988C3176}" type="pres">
      <dgm:prSet presAssocID="{EE2AB700-4AEE-42F3-BB28-D1EB6B0EE0FB}" presName="parTx" presStyleLbl="revTx" presStyleIdx="0" presStyleCnt="1" custScaleX="106868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7F3A543-8973-46D2-8AF1-BB0B621363AD}" type="pres">
      <dgm:prSet presAssocID="{EE2AB700-4AEE-42F3-BB28-D1EB6B0EE0FB}" presName="spVertical2" presStyleCnt="0"/>
      <dgm:spPr/>
    </dgm:pt>
    <dgm:pt modelId="{430F880E-9D60-464C-A316-1C76735C9C38}" type="pres">
      <dgm:prSet presAssocID="{EE2AB700-4AEE-42F3-BB28-D1EB6B0EE0FB}" presName="spVertical3" presStyleCnt="0"/>
      <dgm:spPr/>
    </dgm:pt>
    <dgm:pt modelId="{F10E7826-7EC7-4EDF-883D-AA11BBA46F5F}" type="pres">
      <dgm:prSet presAssocID="{37694391-5AC1-4FD0-94A5-120A855D2E1D}" presName="padding2" presStyleCnt="0"/>
      <dgm:spPr/>
    </dgm:pt>
    <dgm:pt modelId="{5B2FE3D2-FDEF-4D80-999A-00CBAA6A6207}" type="pres">
      <dgm:prSet presAssocID="{37694391-5AC1-4FD0-94A5-120A855D2E1D}" presName="negArrow" presStyleCnt="0"/>
      <dgm:spPr/>
    </dgm:pt>
    <dgm:pt modelId="{4CBA07BE-800D-4A78-94BC-39F7CF6DA778}" type="pres">
      <dgm:prSet presAssocID="{37694391-5AC1-4FD0-94A5-120A855D2E1D}" presName="backgroundArrow" presStyleLbl="node1" presStyleIdx="0" presStyleCnt="1" custLinFactNeighborX="-6685"/>
      <dgm:spPr>
        <a:solidFill>
          <a:schemeClr val="accent5">
            <a:lumMod val="60000"/>
            <a:lumOff val="40000"/>
          </a:schemeClr>
        </a:solidFill>
      </dgm:spPr>
    </dgm:pt>
  </dgm:ptLst>
  <dgm:cxnLst>
    <dgm:cxn modelId="{DF435E73-B03A-4AF7-9B53-5378916BF495}" type="presOf" srcId="{EE2AB700-4AEE-42F3-BB28-D1EB6B0EE0FB}" destId="{F7DACB04-0AB0-4CFD-8B50-9581988C3176}" srcOrd="0" destOrd="0" presId="urn:microsoft.com/office/officeart/2005/8/layout/hProcess3"/>
    <dgm:cxn modelId="{CAB97DAB-B377-4311-B7C1-CD668330B821}" srcId="{37694391-5AC1-4FD0-94A5-120A855D2E1D}" destId="{EE2AB700-4AEE-42F3-BB28-D1EB6B0EE0FB}" srcOrd="0" destOrd="0" parTransId="{31A27FF1-8F87-4EE5-AE8A-E2D33CDEAB5F}" sibTransId="{669136D9-8B5C-430D-AC6C-9026D7A5218C}"/>
    <dgm:cxn modelId="{36EDB087-B37F-489A-B924-AACD06818B31}" type="presOf" srcId="{37694391-5AC1-4FD0-94A5-120A855D2E1D}" destId="{02A44902-BE8D-4690-A734-D170DB4064B6}" srcOrd="0" destOrd="0" presId="urn:microsoft.com/office/officeart/2005/8/layout/hProcess3"/>
    <dgm:cxn modelId="{89378959-F768-416E-AA8C-2E6825F26770}" type="presParOf" srcId="{02A44902-BE8D-4690-A734-D170DB4064B6}" destId="{F67B3A75-ECE4-4DAC-AF85-5F12B335C6C0}" srcOrd="0" destOrd="0" presId="urn:microsoft.com/office/officeart/2005/8/layout/hProcess3"/>
    <dgm:cxn modelId="{38380778-187F-4E5A-B239-0608A7BCEDA8}" type="presParOf" srcId="{02A44902-BE8D-4690-A734-D170DB4064B6}" destId="{9FEAC01D-6CE0-4E34-BCD3-B524AB81DB11}" srcOrd="1" destOrd="0" presId="urn:microsoft.com/office/officeart/2005/8/layout/hProcess3"/>
    <dgm:cxn modelId="{647D0859-C034-4C4A-8D7E-1FC193F9F140}" type="presParOf" srcId="{9FEAC01D-6CE0-4E34-BCD3-B524AB81DB11}" destId="{DF4D0657-E131-4821-AA78-22D5A40FE68C}" srcOrd="0" destOrd="0" presId="urn:microsoft.com/office/officeart/2005/8/layout/hProcess3"/>
    <dgm:cxn modelId="{5A0E1157-42F1-4912-B5FE-1A281B9677BC}" type="presParOf" srcId="{9FEAC01D-6CE0-4E34-BCD3-B524AB81DB11}" destId="{F9A90AF9-A59C-4BBF-83FA-DD92E914CE94}" srcOrd="1" destOrd="0" presId="urn:microsoft.com/office/officeart/2005/8/layout/hProcess3"/>
    <dgm:cxn modelId="{B6871D79-01E5-46CF-A8CC-CDD5481E3956}" type="presParOf" srcId="{F9A90AF9-A59C-4BBF-83FA-DD92E914CE94}" destId="{4EFC1FF5-B218-410A-AF67-B61EEAD7B468}" srcOrd="0" destOrd="0" presId="urn:microsoft.com/office/officeart/2005/8/layout/hProcess3"/>
    <dgm:cxn modelId="{70108C0C-0CAB-440A-A1F2-44252DEA2B21}" type="presParOf" srcId="{F9A90AF9-A59C-4BBF-83FA-DD92E914CE94}" destId="{F7DACB04-0AB0-4CFD-8B50-9581988C3176}" srcOrd="1" destOrd="0" presId="urn:microsoft.com/office/officeart/2005/8/layout/hProcess3"/>
    <dgm:cxn modelId="{80A55911-40B2-48D9-AF8E-F1A5922476D4}" type="presParOf" srcId="{F9A90AF9-A59C-4BBF-83FA-DD92E914CE94}" destId="{77F3A543-8973-46D2-8AF1-BB0B621363AD}" srcOrd="2" destOrd="0" presId="urn:microsoft.com/office/officeart/2005/8/layout/hProcess3"/>
    <dgm:cxn modelId="{1CCFAD7A-7133-462C-A9A6-060E34E65DCD}" type="presParOf" srcId="{F9A90AF9-A59C-4BBF-83FA-DD92E914CE94}" destId="{430F880E-9D60-464C-A316-1C76735C9C38}" srcOrd="3" destOrd="0" presId="urn:microsoft.com/office/officeart/2005/8/layout/hProcess3"/>
    <dgm:cxn modelId="{296D78F5-8C86-4585-BDCD-146C436C2277}" type="presParOf" srcId="{9FEAC01D-6CE0-4E34-BCD3-B524AB81DB11}" destId="{F10E7826-7EC7-4EDF-883D-AA11BBA46F5F}" srcOrd="2" destOrd="0" presId="urn:microsoft.com/office/officeart/2005/8/layout/hProcess3"/>
    <dgm:cxn modelId="{955096FC-6576-441B-A8C2-612A4CA32EA8}" type="presParOf" srcId="{9FEAC01D-6CE0-4E34-BCD3-B524AB81DB11}" destId="{5B2FE3D2-FDEF-4D80-999A-00CBAA6A6207}" srcOrd="3" destOrd="0" presId="urn:microsoft.com/office/officeart/2005/8/layout/hProcess3"/>
    <dgm:cxn modelId="{8282E1A7-F62B-401B-8637-13B8C6515308}" type="presParOf" srcId="{9FEAC01D-6CE0-4E34-BCD3-B524AB81DB11}" destId="{4CBA07BE-800D-4A78-94BC-39F7CF6DA778}" srcOrd="4" destOrd="0" presId="urn:microsoft.com/office/officeart/2005/8/layout/hProcess3"/>
  </dgm:cxnLst>
  <dgm:bg/>
  <dgm:whole/>
  <dgm:extLst>
    <a:ext uri="http://schemas.microsoft.com/office/drawing/2008/diagram">
      <dsp:dataModelExt xmlns:dsp="http://schemas.microsoft.com/office/drawing/2008/diagram" xmlns="" relId="rId6" minVer="http://schemas.openxmlformats.org/drawingml/2006/diagram"/>
    </a:ext>
  </dgm:extLst>
</dgm:dataModel>
</file>

<file path=ppt/diagrams/data2.xml><?xml version="1.0" encoding="utf-8"?>
<dgm:dataModel xmlns:dgm="http://schemas.openxmlformats.org/drawingml/2006/diagram" xmlns:a="http://schemas.openxmlformats.org/drawingml/2006/main">
  <dgm:ptLst>
    <dgm:pt modelId="{37694391-5AC1-4FD0-94A5-120A855D2E1D}" type="doc">
      <dgm:prSet loTypeId="urn:microsoft.com/office/officeart/2005/8/layout/hProcess3" loCatId="process" qsTypeId="urn:microsoft.com/office/officeart/2005/8/quickstyle/3d2#16" qsCatId="3D" csTypeId="urn:microsoft.com/office/officeart/2005/8/colors/accent4_2" csCatId="accent4" phldr="1"/>
      <dgm:spPr/>
    </dgm:pt>
    <dgm:pt modelId="{EE2AB700-4AEE-42F3-BB28-D1EB6B0EE0FB}">
      <dgm:prSet phldrT="[Текст]"/>
      <dgm:spPr/>
      <dgm:t>
        <a:bodyPr/>
        <a:lstStyle/>
        <a:p>
          <a:r>
            <a:rPr lang="ru-RU" b="1" i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Основные показатели по финансово-хозяйственной деятельности туроператоров, </a:t>
          </a:r>
          <a:r>
            <a:rPr lang="ru-RU" b="1" i="1" dirty="0" err="1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турагентов</a:t>
          </a:r>
          <a:r>
            <a:rPr lang="ru-RU" b="1" i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 и прочих организаций, предоставляющих услуги в сфере туризма, в частности доход от реализации продукции и оказания услуг</a:t>
          </a:r>
          <a:endParaRPr lang="ru-RU" b="1" dirty="0">
            <a:solidFill>
              <a:srgbClr val="002060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1A27FF1-8F87-4EE5-AE8A-E2D33CDEAB5F}" type="parTrans" cxnId="{CAB97DAB-B377-4311-B7C1-CD668330B821}">
      <dgm:prSet/>
      <dgm:spPr/>
      <dgm:t>
        <a:bodyPr/>
        <a:lstStyle/>
        <a:p>
          <a:endParaRPr lang="ru-RU"/>
        </a:p>
      </dgm:t>
    </dgm:pt>
    <dgm:pt modelId="{669136D9-8B5C-430D-AC6C-9026D7A5218C}" type="sibTrans" cxnId="{CAB97DAB-B377-4311-B7C1-CD668330B821}">
      <dgm:prSet/>
      <dgm:spPr/>
      <dgm:t>
        <a:bodyPr/>
        <a:lstStyle/>
        <a:p>
          <a:endParaRPr lang="ru-RU"/>
        </a:p>
      </dgm:t>
    </dgm:pt>
    <dgm:pt modelId="{02A44902-BE8D-4690-A734-D170DB4064B6}" type="pres">
      <dgm:prSet presAssocID="{37694391-5AC1-4FD0-94A5-120A855D2E1D}" presName="Name0" presStyleCnt="0">
        <dgm:presLayoutVars>
          <dgm:dir/>
          <dgm:animLvl val="lvl"/>
          <dgm:resizeHandles val="exact"/>
        </dgm:presLayoutVars>
      </dgm:prSet>
      <dgm:spPr/>
    </dgm:pt>
    <dgm:pt modelId="{F67B3A75-ECE4-4DAC-AF85-5F12B335C6C0}" type="pres">
      <dgm:prSet presAssocID="{37694391-5AC1-4FD0-94A5-120A855D2E1D}" presName="dummy" presStyleCnt="0"/>
      <dgm:spPr/>
    </dgm:pt>
    <dgm:pt modelId="{9FEAC01D-6CE0-4E34-BCD3-B524AB81DB11}" type="pres">
      <dgm:prSet presAssocID="{37694391-5AC1-4FD0-94A5-120A855D2E1D}" presName="linH" presStyleCnt="0"/>
      <dgm:spPr/>
    </dgm:pt>
    <dgm:pt modelId="{DF4D0657-E131-4821-AA78-22D5A40FE68C}" type="pres">
      <dgm:prSet presAssocID="{37694391-5AC1-4FD0-94A5-120A855D2E1D}" presName="padding1" presStyleCnt="0"/>
      <dgm:spPr/>
    </dgm:pt>
    <dgm:pt modelId="{F9A90AF9-A59C-4BBF-83FA-DD92E914CE94}" type="pres">
      <dgm:prSet presAssocID="{EE2AB700-4AEE-42F3-BB28-D1EB6B0EE0FB}" presName="linV" presStyleCnt="0"/>
      <dgm:spPr/>
    </dgm:pt>
    <dgm:pt modelId="{4EFC1FF5-B218-410A-AF67-B61EEAD7B468}" type="pres">
      <dgm:prSet presAssocID="{EE2AB700-4AEE-42F3-BB28-D1EB6B0EE0FB}" presName="spVertical1" presStyleCnt="0"/>
      <dgm:spPr/>
    </dgm:pt>
    <dgm:pt modelId="{F7DACB04-0AB0-4CFD-8B50-9581988C3176}" type="pres">
      <dgm:prSet presAssocID="{EE2AB700-4AEE-42F3-BB28-D1EB6B0EE0FB}" presName="parTx" presStyleLbl="revTx" presStyleIdx="0" presStyleCnt="1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7F3A543-8973-46D2-8AF1-BB0B621363AD}" type="pres">
      <dgm:prSet presAssocID="{EE2AB700-4AEE-42F3-BB28-D1EB6B0EE0FB}" presName="spVertical2" presStyleCnt="0"/>
      <dgm:spPr/>
    </dgm:pt>
    <dgm:pt modelId="{430F880E-9D60-464C-A316-1C76735C9C38}" type="pres">
      <dgm:prSet presAssocID="{EE2AB700-4AEE-42F3-BB28-D1EB6B0EE0FB}" presName="spVertical3" presStyleCnt="0"/>
      <dgm:spPr/>
    </dgm:pt>
    <dgm:pt modelId="{F10E7826-7EC7-4EDF-883D-AA11BBA46F5F}" type="pres">
      <dgm:prSet presAssocID="{37694391-5AC1-4FD0-94A5-120A855D2E1D}" presName="padding2" presStyleCnt="0"/>
      <dgm:spPr/>
    </dgm:pt>
    <dgm:pt modelId="{5B2FE3D2-FDEF-4D80-999A-00CBAA6A6207}" type="pres">
      <dgm:prSet presAssocID="{37694391-5AC1-4FD0-94A5-120A855D2E1D}" presName="negArrow" presStyleCnt="0"/>
      <dgm:spPr/>
    </dgm:pt>
    <dgm:pt modelId="{4CBA07BE-800D-4A78-94BC-39F7CF6DA778}" type="pres">
      <dgm:prSet presAssocID="{37694391-5AC1-4FD0-94A5-120A855D2E1D}" presName="backgroundArrow" presStyleLbl="node1" presStyleIdx="0" presStyleCnt="1"/>
      <dgm:spPr>
        <a:solidFill>
          <a:schemeClr val="accent1">
            <a:lumMod val="40000"/>
            <a:lumOff val="60000"/>
          </a:schemeClr>
        </a:solidFill>
      </dgm:spPr>
    </dgm:pt>
  </dgm:ptLst>
  <dgm:cxnLst>
    <dgm:cxn modelId="{E8C91989-8D23-4D95-A687-DF0B0A3B9A86}" type="presOf" srcId="{EE2AB700-4AEE-42F3-BB28-D1EB6B0EE0FB}" destId="{F7DACB04-0AB0-4CFD-8B50-9581988C3176}" srcOrd="0" destOrd="0" presId="urn:microsoft.com/office/officeart/2005/8/layout/hProcess3"/>
    <dgm:cxn modelId="{CAB97DAB-B377-4311-B7C1-CD668330B821}" srcId="{37694391-5AC1-4FD0-94A5-120A855D2E1D}" destId="{EE2AB700-4AEE-42F3-BB28-D1EB6B0EE0FB}" srcOrd="0" destOrd="0" parTransId="{31A27FF1-8F87-4EE5-AE8A-E2D33CDEAB5F}" sibTransId="{669136D9-8B5C-430D-AC6C-9026D7A5218C}"/>
    <dgm:cxn modelId="{355D219B-CB8D-43A7-B570-211C00C54E70}" type="presOf" srcId="{37694391-5AC1-4FD0-94A5-120A855D2E1D}" destId="{02A44902-BE8D-4690-A734-D170DB4064B6}" srcOrd="0" destOrd="0" presId="urn:microsoft.com/office/officeart/2005/8/layout/hProcess3"/>
    <dgm:cxn modelId="{27251E9A-4065-42E7-B288-40160117D084}" type="presParOf" srcId="{02A44902-BE8D-4690-A734-D170DB4064B6}" destId="{F67B3A75-ECE4-4DAC-AF85-5F12B335C6C0}" srcOrd="0" destOrd="0" presId="urn:microsoft.com/office/officeart/2005/8/layout/hProcess3"/>
    <dgm:cxn modelId="{794F8F28-9B6D-441F-ADC1-2B9560C277F3}" type="presParOf" srcId="{02A44902-BE8D-4690-A734-D170DB4064B6}" destId="{9FEAC01D-6CE0-4E34-BCD3-B524AB81DB11}" srcOrd="1" destOrd="0" presId="urn:microsoft.com/office/officeart/2005/8/layout/hProcess3"/>
    <dgm:cxn modelId="{CE60E190-5A79-4E05-A3D3-4F2C207F4C7A}" type="presParOf" srcId="{9FEAC01D-6CE0-4E34-BCD3-B524AB81DB11}" destId="{DF4D0657-E131-4821-AA78-22D5A40FE68C}" srcOrd="0" destOrd="0" presId="urn:microsoft.com/office/officeart/2005/8/layout/hProcess3"/>
    <dgm:cxn modelId="{DFC32843-80FD-4730-A005-2749B0C2E7B7}" type="presParOf" srcId="{9FEAC01D-6CE0-4E34-BCD3-B524AB81DB11}" destId="{F9A90AF9-A59C-4BBF-83FA-DD92E914CE94}" srcOrd="1" destOrd="0" presId="urn:microsoft.com/office/officeart/2005/8/layout/hProcess3"/>
    <dgm:cxn modelId="{26ED0A76-C6E3-497B-A9E7-668491480E11}" type="presParOf" srcId="{F9A90AF9-A59C-4BBF-83FA-DD92E914CE94}" destId="{4EFC1FF5-B218-410A-AF67-B61EEAD7B468}" srcOrd="0" destOrd="0" presId="urn:microsoft.com/office/officeart/2005/8/layout/hProcess3"/>
    <dgm:cxn modelId="{2BEAF61A-F398-4878-9283-F3F18C99DF2D}" type="presParOf" srcId="{F9A90AF9-A59C-4BBF-83FA-DD92E914CE94}" destId="{F7DACB04-0AB0-4CFD-8B50-9581988C3176}" srcOrd="1" destOrd="0" presId="urn:microsoft.com/office/officeart/2005/8/layout/hProcess3"/>
    <dgm:cxn modelId="{F0503671-592E-4FE0-9C89-471AC07457BD}" type="presParOf" srcId="{F9A90AF9-A59C-4BBF-83FA-DD92E914CE94}" destId="{77F3A543-8973-46D2-8AF1-BB0B621363AD}" srcOrd="2" destOrd="0" presId="urn:microsoft.com/office/officeart/2005/8/layout/hProcess3"/>
    <dgm:cxn modelId="{79968E80-B45F-47F2-89FE-A6A0C8A33A96}" type="presParOf" srcId="{F9A90AF9-A59C-4BBF-83FA-DD92E914CE94}" destId="{430F880E-9D60-464C-A316-1C76735C9C38}" srcOrd="3" destOrd="0" presId="urn:microsoft.com/office/officeart/2005/8/layout/hProcess3"/>
    <dgm:cxn modelId="{ECE86FAB-DADA-4E67-8DAE-B637CE610D7D}" type="presParOf" srcId="{9FEAC01D-6CE0-4E34-BCD3-B524AB81DB11}" destId="{F10E7826-7EC7-4EDF-883D-AA11BBA46F5F}" srcOrd="2" destOrd="0" presId="urn:microsoft.com/office/officeart/2005/8/layout/hProcess3"/>
    <dgm:cxn modelId="{0CF474D1-BD69-4F6E-8A15-FA087D9859BA}" type="presParOf" srcId="{9FEAC01D-6CE0-4E34-BCD3-B524AB81DB11}" destId="{5B2FE3D2-FDEF-4D80-999A-00CBAA6A6207}" srcOrd="3" destOrd="0" presId="urn:microsoft.com/office/officeart/2005/8/layout/hProcess3"/>
    <dgm:cxn modelId="{6E74C5C4-CAE4-4437-AC66-0E78F03CB989}" type="presParOf" srcId="{9FEAC01D-6CE0-4E34-BCD3-B524AB81DB11}" destId="{4CBA07BE-800D-4A78-94BC-39F7CF6DA778}" srcOrd="4" destOrd="0" presId="urn:microsoft.com/office/officeart/2005/8/layout/hProcess3"/>
  </dgm:cxnLst>
  <dgm:bg/>
  <dgm:whole/>
  <dgm:extLst>
    <a:ext uri="http://schemas.microsoft.com/office/drawing/2008/diagram">
      <dsp:dataModelExt xmlns:dsp="http://schemas.microsoft.com/office/drawing/2008/diagram" xmlns="" relId="rId11" minVer="http://schemas.openxmlformats.org/drawingml/2006/diagram"/>
    </a:ext>
  </dgm:extLst>
</dgm:dataModel>
</file>

<file path=ppt/diagrams/data3.xml><?xml version="1.0" encoding="utf-8"?>
<dgm:dataModel xmlns:dgm="http://schemas.openxmlformats.org/drawingml/2006/diagram" xmlns:a="http://schemas.openxmlformats.org/drawingml/2006/main">
  <dgm:ptLst>
    <dgm:pt modelId="{37694391-5AC1-4FD0-94A5-120A855D2E1D}" type="doc">
      <dgm:prSet loTypeId="urn:microsoft.com/office/officeart/2005/8/layout/hProcess3" loCatId="process" qsTypeId="urn:microsoft.com/office/officeart/2005/8/quickstyle/3d2#17" qsCatId="3D" csTypeId="urn:microsoft.com/office/officeart/2005/8/colors/accent2_2" csCatId="accent2" phldr="1"/>
      <dgm:spPr/>
    </dgm:pt>
    <dgm:pt modelId="{EE2AB700-4AEE-42F3-BB28-D1EB6B0EE0FB}">
      <dgm:prSet phldrT="[Текст]" custT="1"/>
      <dgm:spPr/>
      <dgm:t>
        <a:bodyPr/>
        <a:lstStyle/>
        <a:p>
          <a:r>
            <a:rPr lang="ru-RU" sz="800" b="1" i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Инвестиции в сфере туризма</a:t>
          </a:r>
          <a:endParaRPr lang="ru-RU" sz="800" b="1" dirty="0">
            <a:solidFill>
              <a:srgbClr val="002060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1A27FF1-8F87-4EE5-AE8A-E2D33CDEAB5F}" type="parTrans" cxnId="{CAB97DAB-B377-4311-B7C1-CD668330B821}">
      <dgm:prSet/>
      <dgm:spPr/>
      <dgm:t>
        <a:bodyPr/>
        <a:lstStyle/>
        <a:p>
          <a:endParaRPr lang="ru-RU"/>
        </a:p>
      </dgm:t>
    </dgm:pt>
    <dgm:pt modelId="{669136D9-8B5C-430D-AC6C-9026D7A5218C}" type="sibTrans" cxnId="{CAB97DAB-B377-4311-B7C1-CD668330B821}">
      <dgm:prSet/>
      <dgm:spPr/>
      <dgm:t>
        <a:bodyPr/>
        <a:lstStyle/>
        <a:p>
          <a:endParaRPr lang="ru-RU"/>
        </a:p>
      </dgm:t>
    </dgm:pt>
    <dgm:pt modelId="{02A44902-BE8D-4690-A734-D170DB4064B6}" type="pres">
      <dgm:prSet presAssocID="{37694391-5AC1-4FD0-94A5-120A855D2E1D}" presName="Name0" presStyleCnt="0">
        <dgm:presLayoutVars>
          <dgm:dir/>
          <dgm:animLvl val="lvl"/>
          <dgm:resizeHandles val="exact"/>
        </dgm:presLayoutVars>
      </dgm:prSet>
      <dgm:spPr/>
    </dgm:pt>
    <dgm:pt modelId="{F67B3A75-ECE4-4DAC-AF85-5F12B335C6C0}" type="pres">
      <dgm:prSet presAssocID="{37694391-5AC1-4FD0-94A5-120A855D2E1D}" presName="dummy" presStyleCnt="0"/>
      <dgm:spPr/>
    </dgm:pt>
    <dgm:pt modelId="{9FEAC01D-6CE0-4E34-BCD3-B524AB81DB11}" type="pres">
      <dgm:prSet presAssocID="{37694391-5AC1-4FD0-94A5-120A855D2E1D}" presName="linH" presStyleCnt="0"/>
      <dgm:spPr/>
    </dgm:pt>
    <dgm:pt modelId="{DF4D0657-E131-4821-AA78-22D5A40FE68C}" type="pres">
      <dgm:prSet presAssocID="{37694391-5AC1-4FD0-94A5-120A855D2E1D}" presName="padding1" presStyleCnt="0"/>
      <dgm:spPr/>
    </dgm:pt>
    <dgm:pt modelId="{F9A90AF9-A59C-4BBF-83FA-DD92E914CE94}" type="pres">
      <dgm:prSet presAssocID="{EE2AB700-4AEE-42F3-BB28-D1EB6B0EE0FB}" presName="linV" presStyleCnt="0"/>
      <dgm:spPr/>
    </dgm:pt>
    <dgm:pt modelId="{4EFC1FF5-B218-410A-AF67-B61EEAD7B468}" type="pres">
      <dgm:prSet presAssocID="{EE2AB700-4AEE-42F3-BB28-D1EB6B0EE0FB}" presName="spVertical1" presStyleCnt="0"/>
      <dgm:spPr/>
    </dgm:pt>
    <dgm:pt modelId="{F7DACB04-0AB0-4CFD-8B50-9581988C3176}" type="pres">
      <dgm:prSet presAssocID="{EE2AB700-4AEE-42F3-BB28-D1EB6B0EE0FB}" presName="parTx" presStyleLbl="revTx" presStyleIdx="0" presStyleCnt="1" custLinFactNeighborX="-2041" custLinFactNeighborY="39271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7F3A543-8973-46D2-8AF1-BB0B621363AD}" type="pres">
      <dgm:prSet presAssocID="{EE2AB700-4AEE-42F3-BB28-D1EB6B0EE0FB}" presName="spVertical2" presStyleCnt="0"/>
      <dgm:spPr/>
    </dgm:pt>
    <dgm:pt modelId="{430F880E-9D60-464C-A316-1C76735C9C38}" type="pres">
      <dgm:prSet presAssocID="{EE2AB700-4AEE-42F3-BB28-D1EB6B0EE0FB}" presName="spVertical3" presStyleCnt="0"/>
      <dgm:spPr/>
    </dgm:pt>
    <dgm:pt modelId="{F10E7826-7EC7-4EDF-883D-AA11BBA46F5F}" type="pres">
      <dgm:prSet presAssocID="{37694391-5AC1-4FD0-94A5-120A855D2E1D}" presName="padding2" presStyleCnt="0"/>
      <dgm:spPr/>
    </dgm:pt>
    <dgm:pt modelId="{5B2FE3D2-FDEF-4D80-999A-00CBAA6A6207}" type="pres">
      <dgm:prSet presAssocID="{37694391-5AC1-4FD0-94A5-120A855D2E1D}" presName="negArrow" presStyleCnt="0"/>
      <dgm:spPr/>
    </dgm:pt>
    <dgm:pt modelId="{4CBA07BE-800D-4A78-94BC-39F7CF6DA778}" type="pres">
      <dgm:prSet presAssocID="{37694391-5AC1-4FD0-94A5-120A855D2E1D}" presName="backgroundArrow" presStyleLbl="node1" presStyleIdx="0" presStyleCnt="1" custScaleY="120890" custLinFactNeighborX="1673" custLinFactNeighborY="-2390"/>
      <dgm:spPr>
        <a:solidFill>
          <a:schemeClr val="tx2">
            <a:lumMod val="20000"/>
            <a:lumOff val="80000"/>
          </a:schemeClr>
        </a:solidFill>
      </dgm:spPr>
    </dgm:pt>
  </dgm:ptLst>
  <dgm:cxnLst>
    <dgm:cxn modelId="{DCF1D487-EA79-4A81-A4E1-ABC1DD5528C5}" type="presOf" srcId="{37694391-5AC1-4FD0-94A5-120A855D2E1D}" destId="{02A44902-BE8D-4690-A734-D170DB4064B6}" srcOrd="0" destOrd="0" presId="urn:microsoft.com/office/officeart/2005/8/layout/hProcess3"/>
    <dgm:cxn modelId="{C8AA0AF4-1E48-4280-85EB-07526CB5D43A}" type="presOf" srcId="{EE2AB700-4AEE-42F3-BB28-D1EB6B0EE0FB}" destId="{F7DACB04-0AB0-4CFD-8B50-9581988C3176}" srcOrd="0" destOrd="0" presId="urn:microsoft.com/office/officeart/2005/8/layout/hProcess3"/>
    <dgm:cxn modelId="{CAB97DAB-B377-4311-B7C1-CD668330B821}" srcId="{37694391-5AC1-4FD0-94A5-120A855D2E1D}" destId="{EE2AB700-4AEE-42F3-BB28-D1EB6B0EE0FB}" srcOrd="0" destOrd="0" parTransId="{31A27FF1-8F87-4EE5-AE8A-E2D33CDEAB5F}" sibTransId="{669136D9-8B5C-430D-AC6C-9026D7A5218C}"/>
    <dgm:cxn modelId="{BF5C81A5-854D-49C4-86EE-1261E1C97DC0}" type="presParOf" srcId="{02A44902-BE8D-4690-A734-D170DB4064B6}" destId="{F67B3A75-ECE4-4DAC-AF85-5F12B335C6C0}" srcOrd="0" destOrd="0" presId="urn:microsoft.com/office/officeart/2005/8/layout/hProcess3"/>
    <dgm:cxn modelId="{28B81886-DCE5-4EFE-B8D6-8868DFB939D5}" type="presParOf" srcId="{02A44902-BE8D-4690-A734-D170DB4064B6}" destId="{9FEAC01D-6CE0-4E34-BCD3-B524AB81DB11}" srcOrd="1" destOrd="0" presId="urn:microsoft.com/office/officeart/2005/8/layout/hProcess3"/>
    <dgm:cxn modelId="{78CF5649-7CA7-4807-AA0C-A5DEFB743E40}" type="presParOf" srcId="{9FEAC01D-6CE0-4E34-BCD3-B524AB81DB11}" destId="{DF4D0657-E131-4821-AA78-22D5A40FE68C}" srcOrd="0" destOrd="0" presId="urn:microsoft.com/office/officeart/2005/8/layout/hProcess3"/>
    <dgm:cxn modelId="{B0F488B9-C8F1-4ACE-8DC0-D0EFF3770119}" type="presParOf" srcId="{9FEAC01D-6CE0-4E34-BCD3-B524AB81DB11}" destId="{F9A90AF9-A59C-4BBF-83FA-DD92E914CE94}" srcOrd="1" destOrd="0" presId="urn:microsoft.com/office/officeart/2005/8/layout/hProcess3"/>
    <dgm:cxn modelId="{3A9E7D5F-D7A6-42CB-AC4E-29ACA99545CD}" type="presParOf" srcId="{F9A90AF9-A59C-4BBF-83FA-DD92E914CE94}" destId="{4EFC1FF5-B218-410A-AF67-B61EEAD7B468}" srcOrd="0" destOrd="0" presId="urn:microsoft.com/office/officeart/2005/8/layout/hProcess3"/>
    <dgm:cxn modelId="{6C269DB0-1821-46AA-9A39-601E59B71DF4}" type="presParOf" srcId="{F9A90AF9-A59C-4BBF-83FA-DD92E914CE94}" destId="{F7DACB04-0AB0-4CFD-8B50-9581988C3176}" srcOrd="1" destOrd="0" presId="urn:microsoft.com/office/officeart/2005/8/layout/hProcess3"/>
    <dgm:cxn modelId="{122857D8-8F33-4B95-A13A-C37092D1B212}" type="presParOf" srcId="{F9A90AF9-A59C-4BBF-83FA-DD92E914CE94}" destId="{77F3A543-8973-46D2-8AF1-BB0B621363AD}" srcOrd="2" destOrd="0" presId="urn:microsoft.com/office/officeart/2005/8/layout/hProcess3"/>
    <dgm:cxn modelId="{F6C607CC-B964-4298-B5CD-421B5A3E3B7D}" type="presParOf" srcId="{F9A90AF9-A59C-4BBF-83FA-DD92E914CE94}" destId="{430F880E-9D60-464C-A316-1C76735C9C38}" srcOrd="3" destOrd="0" presId="urn:microsoft.com/office/officeart/2005/8/layout/hProcess3"/>
    <dgm:cxn modelId="{E180D932-66AC-481A-A593-1197E9E45187}" type="presParOf" srcId="{9FEAC01D-6CE0-4E34-BCD3-B524AB81DB11}" destId="{F10E7826-7EC7-4EDF-883D-AA11BBA46F5F}" srcOrd="2" destOrd="0" presId="urn:microsoft.com/office/officeart/2005/8/layout/hProcess3"/>
    <dgm:cxn modelId="{0A618A4B-D0FF-4238-B7B5-509BEB4572D8}" type="presParOf" srcId="{9FEAC01D-6CE0-4E34-BCD3-B524AB81DB11}" destId="{5B2FE3D2-FDEF-4D80-999A-00CBAA6A6207}" srcOrd="3" destOrd="0" presId="urn:microsoft.com/office/officeart/2005/8/layout/hProcess3"/>
    <dgm:cxn modelId="{F2F8F814-21AF-42A1-BEA9-E66FFFBEEAD4}" type="presParOf" srcId="{9FEAC01D-6CE0-4E34-BCD3-B524AB81DB11}" destId="{4CBA07BE-800D-4A78-94BC-39F7CF6DA778}" srcOrd="4" destOrd="0" presId="urn:microsoft.com/office/officeart/2005/8/layout/hProcess3"/>
  </dgm:cxnLst>
  <dgm:bg/>
  <dgm:whole/>
  <dgm:extLst>
    <a:ext uri="http://schemas.microsoft.com/office/drawing/2008/diagram">
      <dsp:dataModelExt xmlns:dsp="http://schemas.microsoft.com/office/drawing/2008/diagram" xmlns="" relId="rId16" minVer="http://schemas.openxmlformats.org/drawingml/2006/diagram"/>
    </a:ext>
  </dgm:extLst>
</dgm:dataModel>
</file>

<file path=ppt/diagrams/data4.xml><?xml version="1.0" encoding="utf-8"?>
<dgm:dataModel xmlns:dgm="http://schemas.openxmlformats.org/drawingml/2006/diagram" xmlns:a="http://schemas.openxmlformats.org/drawingml/2006/main">
  <dgm:ptLst>
    <dgm:pt modelId="{37694391-5AC1-4FD0-94A5-120A855D2E1D}" type="doc">
      <dgm:prSet loTypeId="urn:microsoft.com/office/officeart/2005/8/layout/hProcess3" loCatId="process" qsTypeId="urn:microsoft.com/office/officeart/2005/8/quickstyle/3d2#18" qsCatId="3D" csTypeId="urn:microsoft.com/office/officeart/2005/8/colors/accent3_2" csCatId="accent3" phldr="1"/>
      <dgm:spPr/>
    </dgm:pt>
    <dgm:pt modelId="{EE2AB700-4AEE-42F3-BB28-D1EB6B0EE0FB}">
      <dgm:prSet phldrT="[Текст]" custT="1"/>
      <dgm:spPr/>
      <dgm:t>
        <a:bodyPr/>
        <a:lstStyle/>
        <a:p>
          <a:r>
            <a:rPr lang="ru-RU" sz="800" b="1" i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Данные по санаторно-курортным организациям</a:t>
          </a:r>
          <a:endParaRPr lang="ru-RU" sz="800" b="1" dirty="0">
            <a:solidFill>
              <a:srgbClr val="002060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1A27FF1-8F87-4EE5-AE8A-E2D33CDEAB5F}" type="parTrans" cxnId="{CAB97DAB-B377-4311-B7C1-CD668330B821}">
      <dgm:prSet/>
      <dgm:spPr/>
      <dgm:t>
        <a:bodyPr/>
        <a:lstStyle/>
        <a:p>
          <a:endParaRPr lang="ru-RU"/>
        </a:p>
      </dgm:t>
    </dgm:pt>
    <dgm:pt modelId="{669136D9-8B5C-430D-AC6C-9026D7A5218C}" type="sibTrans" cxnId="{CAB97DAB-B377-4311-B7C1-CD668330B821}">
      <dgm:prSet/>
      <dgm:spPr/>
      <dgm:t>
        <a:bodyPr/>
        <a:lstStyle/>
        <a:p>
          <a:endParaRPr lang="ru-RU"/>
        </a:p>
      </dgm:t>
    </dgm:pt>
    <dgm:pt modelId="{02A44902-BE8D-4690-A734-D170DB4064B6}" type="pres">
      <dgm:prSet presAssocID="{37694391-5AC1-4FD0-94A5-120A855D2E1D}" presName="Name0" presStyleCnt="0">
        <dgm:presLayoutVars>
          <dgm:dir/>
          <dgm:animLvl val="lvl"/>
          <dgm:resizeHandles val="exact"/>
        </dgm:presLayoutVars>
      </dgm:prSet>
      <dgm:spPr/>
    </dgm:pt>
    <dgm:pt modelId="{F67B3A75-ECE4-4DAC-AF85-5F12B335C6C0}" type="pres">
      <dgm:prSet presAssocID="{37694391-5AC1-4FD0-94A5-120A855D2E1D}" presName="dummy" presStyleCnt="0"/>
      <dgm:spPr/>
    </dgm:pt>
    <dgm:pt modelId="{9FEAC01D-6CE0-4E34-BCD3-B524AB81DB11}" type="pres">
      <dgm:prSet presAssocID="{37694391-5AC1-4FD0-94A5-120A855D2E1D}" presName="linH" presStyleCnt="0"/>
      <dgm:spPr/>
    </dgm:pt>
    <dgm:pt modelId="{DF4D0657-E131-4821-AA78-22D5A40FE68C}" type="pres">
      <dgm:prSet presAssocID="{37694391-5AC1-4FD0-94A5-120A855D2E1D}" presName="padding1" presStyleCnt="0"/>
      <dgm:spPr/>
    </dgm:pt>
    <dgm:pt modelId="{F9A90AF9-A59C-4BBF-83FA-DD92E914CE94}" type="pres">
      <dgm:prSet presAssocID="{EE2AB700-4AEE-42F3-BB28-D1EB6B0EE0FB}" presName="linV" presStyleCnt="0"/>
      <dgm:spPr/>
    </dgm:pt>
    <dgm:pt modelId="{4EFC1FF5-B218-410A-AF67-B61EEAD7B468}" type="pres">
      <dgm:prSet presAssocID="{EE2AB700-4AEE-42F3-BB28-D1EB6B0EE0FB}" presName="spVertical1" presStyleCnt="0"/>
      <dgm:spPr/>
    </dgm:pt>
    <dgm:pt modelId="{F7DACB04-0AB0-4CFD-8B50-9581988C3176}" type="pres">
      <dgm:prSet presAssocID="{EE2AB700-4AEE-42F3-BB28-D1EB6B0EE0FB}" presName="parTx" presStyleLbl="revTx" presStyleIdx="0" presStyleCnt="1" custScaleX="97818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7F3A543-8973-46D2-8AF1-BB0B621363AD}" type="pres">
      <dgm:prSet presAssocID="{EE2AB700-4AEE-42F3-BB28-D1EB6B0EE0FB}" presName="spVertical2" presStyleCnt="0"/>
      <dgm:spPr/>
    </dgm:pt>
    <dgm:pt modelId="{430F880E-9D60-464C-A316-1C76735C9C38}" type="pres">
      <dgm:prSet presAssocID="{EE2AB700-4AEE-42F3-BB28-D1EB6B0EE0FB}" presName="spVertical3" presStyleCnt="0"/>
      <dgm:spPr/>
    </dgm:pt>
    <dgm:pt modelId="{F10E7826-7EC7-4EDF-883D-AA11BBA46F5F}" type="pres">
      <dgm:prSet presAssocID="{37694391-5AC1-4FD0-94A5-120A855D2E1D}" presName="padding2" presStyleCnt="0"/>
      <dgm:spPr/>
    </dgm:pt>
    <dgm:pt modelId="{5B2FE3D2-FDEF-4D80-999A-00CBAA6A6207}" type="pres">
      <dgm:prSet presAssocID="{37694391-5AC1-4FD0-94A5-120A855D2E1D}" presName="negArrow" presStyleCnt="0"/>
      <dgm:spPr/>
    </dgm:pt>
    <dgm:pt modelId="{4CBA07BE-800D-4A78-94BC-39F7CF6DA778}" type="pres">
      <dgm:prSet presAssocID="{37694391-5AC1-4FD0-94A5-120A855D2E1D}" presName="backgroundArrow" presStyleLbl="node1" presStyleIdx="0" presStyleCnt="1" custLinFactNeighborX="212"/>
      <dgm:spPr>
        <a:solidFill>
          <a:schemeClr val="accent5">
            <a:lumMod val="40000"/>
            <a:lumOff val="60000"/>
          </a:schemeClr>
        </a:solidFill>
      </dgm:spPr>
    </dgm:pt>
  </dgm:ptLst>
  <dgm:cxnLst>
    <dgm:cxn modelId="{CAB97DAB-B377-4311-B7C1-CD668330B821}" srcId="{37694391-5AC1-4FD0-94A5-120A855D2E1D}" destId="{EE2AB700-4AEE-42F3-BB28-D1EB6B0EE0FB}" srcOrd="0" destOrd="0" parTransId="{31A27FF1-8F87-4EE5-AE8A-E2D33CDEAB5F}" sibTransId="{669136D9-8B5C-430D-AC6C-9026D7A5218C}"/>
    <dgm:cxn modelId="{FFEDB4E1-136B-4E21-BF3F-67A320816470}" type="presOf" srcId="{37694391-5AC1-4FD0-94A5-120A855D2E1D}" destId="{02A44902-BE8D-4690-A734-D170DB4064B6}" srcOrd="0" destOrd="0" presId="urn:microsoft.com/office/officeart/2005/8/layout/hProcess3"/>
    <dgm:cxn modelId="{DE361E1C-1433-497C-ADD1-37811FCC9EFB}" type="presOf" srcId="{EE2AB700-4AEE-42F3-BB28-D1EB6B0EE0FB}" destId="{F7DACB04-0AB0-4CFD-8B50-9581988C3176}" srcOrd="0" destOrd="0" presId="urn:microsoft.com/office/officeart/2005/8/layout/hProcess3"/>
    <dgm:cxn modelId="{FF556424-24B3-401D-A79B-3979E68CC185}" type="presParOf" srcId="{02A44902-BE8D-4690-A734-D170DB4064B6}" destId="{F67B3A75-ECE4-4DAC-AF85-5F12B335C6C0}" srcOrd="0" destOrd="0" presId="urn:microsoft.com/office/officeart/2005/8/layout/hProcess3"/>
    <dgm:cxn modelId="{29A58C6F-F12E-4842-A83D-52BD26F3F35A}" type="presParOf" srcId="{02A44902-BE8D-4690-A734-D170DB4064B6}" destId="{9FEAC01D-6CE0-4E34-BCD3-B524AB81DB11}" srcOrd="1" destOrd="0" presId="urn:microsoft.com/office/officeart/2005/8/layout/hProcess3"/>
    <dgm:cxn modelId="{243AC530-1483-4300-9FF6-405223313287}" type="presParOf" srcId="{9FEAC01D-6CE0-4E34-BCD3-B524AB81DB11}" destId="{DF4D0657-E131-4821-AA78-22D5A40FE68C}" srcOrd="0" destOrd="0" presId="urn:microsoft.com/office/officeart/2005/8/layout/hProcess3"/>
    <dgm:cxn modelId="{784B11FE-B8B6-4191-9986-D3314E6B4B79}" type="presParOf" srcId="{9FEAC01D-6CE0-4E34-BCD3-B524AB81DB11}" destId="{F9A90AF9-A59C-4BBF-83FA-DD92E914CE94}" srcOrd="1" destOrd="0" presId="urn:microsoft.com/office/officeart/2005/8/layout/hProcess3"/>
    <dgm:cxn modelId="{841B3171-945A-4929-B591-1102D0FF04FB}" type="presParOf" srcId="{F9A90AF9-A59C-4BBF-83FA-DD92E914CE94}" destId="{4EFC1FF5-B218-410A-AF67-B61EEAD7B468}" srcOrd="0" destOrd="0" presId="urn:microsoft.com/office/officeart/2005/8/layout/hProcess3"/>
    <dgm:cxn modelId="{BCA964F2-D8C9-40E1-AAC1-F2AA255E83D1}" type="presParOf" srcId="{F9A90AF9-A59C-4BBF-83FA-DD92E914CE94}" destId="{F7DACB04-0AB0-4CFD-8B50-9581988C3176}" srcOrd="1" destOrd="0" presId="urn:microsoft.com/office/officeart/2005/8/layout/hProcess3"/>
    <dgm:cxn modelId="{8C84B08E-F9D7-4DD1-8A84-FE9599BE8708}" type="presParOf" srcId="{F9A90AF9-A59C-4BBF-83FA-DD92E914CE94}" destId="{77F3A543-8973-46D2-8AF1-BB0B621363AD}" srcOrd="2" destOrd="0" presId="urn:microsoft.com/office/officeart/2005/8/layout/hProcess3"/>
    <dgm:cxn modelId="{52ADE363-CE97-42EC-90EF-C265B32C225B}" type="presParOf" srcId="{F9A90AF9-A59C-4BBF-83FA-DD92E914CE94}" destId="{430F880E-9D60-464C-A316-1C76735C9C38}" srcOrd="3" destOrd="0" presId="urn:microsoft.com/office/officeart/2005/8/layout/hProcess3"/>
    <dgm:cxn modelId="{56C273EC-C35C-4D20-B8CC-C8AD635BF3DC}" type="presParOf" srcId="{9FEAC01D-6CE0-4E34-BCD3-B524AB81DB11}" destId="{F10E7826-7EC7-4EDF-883D-AA11BBA46F5F}" srcOrd="2" destOrd="0" presId="urn:microsoft.com/office/officeart/2005/8/layout/hProcess3"/>
    <dgm:cxn modelId="{82AEEAF3-99DF-4F28-9386-4970281CB8E4}" type="presParOf" srcId="{9FEAC01D-6CE0-4E34-BCD3-B524AB81DB11}" destId="{5B2FE3D2-FDEF-4D80-999A-00CBAA6A6207}" srcOrd="3" destOrd="0" presId="urn:microsoft.com/office/officeart/2005/8/layout/hProcess3"/>
    <dgm:cxn modelId="{7C33D113-33DB-40C0-BFFC-21214F17AB03}" type="presParOf" srcId="{9FEAC01D-6CE0-4E34-BCD3-B524AB81DB11}" destId="{4CBA07BE-800D-4A78-94BC-39F7CF6DA778}" srcOrd="4" destOrd="0" presId="urn:microsoft.com/office/officeart/2005/8/layout/hProcess3"/>
  </dgm:cxnLst>
  <dgm:bg/>
  <dgm:whole/>
  <dgm:extLst>
    <a:ext uri="http://schemas.microsoft.com/office/drawing/2008/diagram">
      <dsp:dataModelExt xmlns:dsp="http://schemas.microsoft.com/office/drawing/2008/diagram" xmlns="" relId="rId21" minVer="http://schemas.openxmlformats.org/drawingml/2006/diagram"/>
    </a:ext>
  </dgm:extLst>
</dgm:dataModel>
</file>

<file path=ppt/diagrams/data5.xml><?xml version="1.0" encoding="utf-8"?>
<dgm:dataModel xmlns:dgm="http://schemas.openxmlformats.org/drawingml/2006/diagram" xmlns:a="http://schemas.openxmlformats.org/drawingml/2006/main">
  <dgm:ptLst>
    <dgm:pt modelId="{37694391-5AC1-4FD0-94A5-120A855D2E1D}" type="doc">
      <dgm:prSet loTypeId="urn:microsoft.com/office/officeart/2005/8/layout/hProcess3" loCatId="process" qsTypeId="urn:microsoft.com/office/officeart/2005/8/quickstyle/3d2#19" qsCatId="3D" csTypeId="urn:microsoft.com/office/officeart/2005/8/colors/accent6_5" csCatId="accent6" phldr="1"/>
      <dgm:spPr/>
    </dgm:pt>
    <dgm:pt modelId="{EE2AB700-4AEE-42F3-BB28-D1EB6B0EE0FB}">
      <dgm:prSet phldrT="[Текст]" custT="1"/>
      <dgm:spPr/>
      <dgm:t>
        <a:bodyPr/>
        <a:lstStyle/>
        <a:p>
          <a:r>
            <a:rPr lang="ru-RU" sz="800" b="1" i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Списочная численность работников сферы туризма, среднемесячная номинальная начисленная заработная плата работников занятых в сфере туризма</a:t>
          </a:r>
          <a:endParaRPr lang="ru-RU" sz="800" b="1" dirty="0">
            <a:solidFill>
              <a:srgbClr val="002060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1A27FF1-8F87-4EE5-AE8A-E2D33CDEAB5F}" type="parTrans" cxnId="{CAB97DAB-B377-4311-B7C1-CD668330B821}">
      <dgm:prSet/>
      <dgm:spPr/>
      <dgm:t>
        <a:bodyPr/>
        <a:lstStyle/>
        <a:p>
          <a:endParaRPr lang="ru-RU"/>
        </a:p>
      </dgm:t>
    </dgm:pt>
    <dgm:pt modelId="{669136D9-8B5C-430D-AC6C-9026D7A5218C}" type="sibTrans" cxnId="{CAB97DAB-B377-4311-B7C1-CD668330B821}">
      <dgm:prSet/>
      <dgm:spPr/>
      <dgm:t>
        <a:bodyPr/>
        <a:lstStyle/>
        <a:p>
          <a:endParaRPr lang="ru-RU"/>
        </a:p>
      </dgm:t>
    </dgm:pt>
    <dgm:pt modelId="{02A44902-BE8D-4690-A734-D170DB4064B6}" type="pres">
      <dgm:prSet presAssocID="{37694391-5AC1-4FD0-94A5-120A855D2E1D}" presName="Name0" presStyleCnt="0">
        <dgm:presLayoutVars>
          <dgm:dir/>
          <dgm:animLvl val="lvl"/>
          <dgm:resizeHandles val="exact"/>
        </dgm:presLayoutVars>
      </dgm:prSet>
      <dgm:spPr/>
    </dgm:pt>
    <dgm:pt modelId="{F67B3A75-ECE4-4DAC-AF85-5F12B335C6C0}" type="pres">
      <dgm:prSet presAssocID="{37694391-5AC1-4FD0-94A5-120A855D2E1D}" presName="dummy" presStyleCnt="0"/>
      <dgm:spPr/>
    </dgm:pt>
    <dgm:pt modelId="{9FEAC01D-6CE0-4E34-BCD3-B524AB81DB11}" type="pres">
      <dgm:prSet presAssocID="{37694391-5AC1-4FD0-94A5-120A855D2E1D}" presName="linH" presStyleCnt="0"/>
      <dgm:spPr/>
    </dgm:pt>
    <dgm:pt modelId="{DF4D0657-E131-4821-AA78-22D5A40FE68C}" type="pres">
      <dgm:prSet presAssocID="{37694391-5AC1-4FD0-94A5-120A855D2E1D}" presName="padding1" presStyleCnt="0"/>
      <dgm:spPr/>
    </dgm:pt>
    <dgm:pt modelId="{F9A90AF9-A59C-4BBF-83FA-DD92E914CE94}" type="pres">
      <dgm:prSet presAssocID="{EE2AB700-4AEE-42F3-BB28-D1EB6B0EE0FB}" presName="linV" presStyleCnt="0"/>
      <dgm:spPr/>
    </dgm:pt>
    <dgm:pt modelId="{4EFC1FF5-B218-410A-AF67-B61EEAD7B468}" type="pres">
      <dgm:prSet presAssocID="{EE2AB700-4AEE-42F3-BB28-D1EB6B0EE0FB}" presName="spVertical1" presStyleCnt="0"/>
      <dgm:spPr/>
    </dgm:pt>
    <dgm:pt modelId="{F7DACB04-0AB0-4CFD-8B50-9581988C3176}" type="pres">
      <dgm:prSet presAssocID="{EE2AB700-4AEE-42F3-BB28-D1EB6B0EE0FB}" presName="parTx" presStyleLbl="revTx" presStyleIdx="0" presStyleCnt="1" custScaleY="100839" custLinFactNeighborX="-3180" custLinFactNeighborY="16476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7F3A543-8973-46D2-8AF1-BB0B621363AD}" type="pres">
      <dgm:prSet presAssocID="{EE2AB700-4AEE-42F3-BB28-D1EB6B0EE0FB}" presName="spVertical2" presStyleCnt="0"/>
      <dgm:spPr/>
    </dgm:pt>
    <dgm:pt modelId="{430F880E-9D60-464C-A316-1C76735C9C38}" type="pres">
      <dgm:prSet presAssocID="{EE2AB700-4AEE-42F3-BB28-D1EB6B0EE0FB}" presName="spVertical3" presStyleCnt="0"/>
      <dgm:spPr/>
    </dgm:pt>
    <dgm:pt modelId="{F10E7826-7EC7-4EDF-883D-AA11BBA46F5F}" type="pres">
      <dgm:prSet presAssocID="{37694391-5AC1-4FD0-94A5-120A855D2E1D}" presName="padding2" presStyleCnt="0"/>
      <dgm:spPr/>
    </dgm:pt>
    <dgm:pt modelId="{5B2FE3D2-FDEF-4D80-999A-00CBAA6A6207}" type="pres">
      <dgm:prSet presAssocID="{37694391-5AC1-4FD0-94A5-120A855D2E1D}" presName="negArrow" presStyleCnt="0"/>
      <dgm:spPr/>
    </dgm:pt>
    <dgm:pt modelId="{4CBA07BE-800D-4A78-94BC-39F7CF6DA778}" type="pres">
      <dgm:prSet presAssocID="{37694391-5AC1-4FD0-94A5-120A855D2E1D}" presName="backgroundArrow" presStyleLbl="node1" presStyleIdx="0" presStyleCnt="1" custScaleY="111914" custLinFactNeighborX="-13752" custLinFactNeighborY="-780"/>
      <dgm:spPr>
        <a:solidFill>
          <a:schemeClr val="accent1">
            <a:lumMod val="60000"/>
            <a:lumOff val="40000"/>
          </a:schemeClr>
        </a:solidFill>
      </dgm:spPr>
    </dgm:pt>
  </dgm:ptLst>
  <dgm:cxnLst>
    <dgm:cxn modelId="{CAB97DAB-B377-4311-B7C1-CD668330B821}" srcId="{37694391-5AC1-4FD0-94A5-120A855D2E1D}" destId="{EE2AB700-4AEE-42F3-BB28-D1EB6B0EE0FB}" srcOrd="0" destOrd="0" parTransId="{31A27FF1-8F87-4EE5-AE8A-E2D33CDEAB5F}" sibTransId="{669136D9-8B5C-430D-AC6C-9026D7A5218C}"/>
    <dgm:cxn modelId="{7757097E-5882-4E82-A39A-610ECC8CDD64}" type="presOf" srcId="{37694391-5AC1-4FD0-94A5-120A855D2E1D}" destId="{02A44902-BE8D-4690-A734-D170DB4064B6}" srcOrd="0" destOrd="0" presId="urn:microsoft.com/office/officeart/2005/8/layout/hProcess3"/>
    <dgm:cxn modelId="{F508E086-FF86-43AB-BF38-C4DAE7A4D259}" type="presOf" srcId="{EE2AB700-4AEE-42F3-BB28-D1EB6B0EE0FB}" destId="{F7DACB04-0AB0-4CFD-8B50-9581988C3176}" srcOrd="0" destOrd="0" presId="urn:microsoft.com/office/officeart/2005/8/layout/hProcess3"/>
    <dgm:cxn modelId="{5EDFFE0F-2266-4D87-BCEE-BA873026D705}" type="presParOf" srcId="{02A44902-BE8D-4690-A734-D170DB4064B6}" destId="{F67B3A75-ECE4-4DAC-AF85-5F12B335C6C0}" srcOrd="0" destOrd="0" presId="urn:microsoft.com/office/officeart/2005/8/layout/hProcess3"/>
    <dgm:cxn modelId="{158F3248-1D80-480F-9F98-D64040E11A31}" type="presParOf" srcId="{02A44902-BE8D-4690-A734-D170DB4064B6}" destId="{9FEAC01D-6CE0-4E34-BCD3-B524AB81DB11}" srcOrd="1" destOrd="0" presId="urn:microsoft.com/office/officeart/2005/8/layout/hProcess3"/>
    <dgm:cxn modelId="{D8C1CA81-1F3F-4853-872C-EF18335C671A}" type="presParOf" srcId="{9FEAC01D-6CE0-4E34-BCD3-B524AB81DB11}" destId="{DF4D0657-E131-4821-AA78-22D5A40FE68C}" srcOrd="0" destOrd="0" presId="urn:microsoft.com/office/officeart/2005/8/layout/hProcess3"/>
    <dgm:cxn modelId="{BBFA2876-B3E8-4098-85DF-DCBF8DCD3595}" type="presParOf" srcId="{9FEAC01D-6CE0-4E34-BCD3-B524AB81DB11}" destId="{F9A90AF9-A59C-4BBF-83FA-DD92E914CE94}" srcOrd="1" destOrd="0" presId="urn:microsoft.com/office/officeart/2005/8/layout/hProcess3"/>
    <dgm:cxn modelId="{0B2A1E44-4B92-446E-82A4-EF39E93905EF}" type="presParOf" srcId="{F9A90AF9-A59C-4BBF-83FA-DD92E914CE94}" destId="{4EFC1FF5-B218-410A-AF67-B61EEAD7B468}" srcOrd="0" destOrd="0" presId="urn:microsoft.com/office/officeart/2005/8/layout/hProcess3"/>
    <dgm:cxn modelId="{0178E139-5DE4-424B-A631-8CBEA4A7769F}" type="presParOf" srcId="{F9A90AF9-A59C-4BBF-83FA-DD92E914CE94}" destId="{F7DACB04-0AB0-4CFD-8B50-9581988C3176}" srcOrd="1" destOrd="0" presId="urn:microsoft.com/office/officeart/2005/8/layout/hProcess3"/>
    <dgm:cxn modelId="{DEB998C1-9DE3-4715-AA7B-3EAC36239394}" type="presParOf" srcId="{F9A90AF9-A59C-4BBF-83FA-DD92E914CE94}" destId="{77F3A543-8973-46D2-8AF1-BB0B621363AD}" srcOrd="2" destOrd="0" presId="urn:microsoft.com/office/officeart/2005/8/layout/hProcess3"/>
    <dgm:cxn modelId="{B52167B0-F7F0-4E07-8A1F-D6D31A2F6B10}" type="presParOf" srcId="{F9A90AF9-A59C-4BBF-83FA-DD92E914CE94}" destId="{430F880E-9D60-464C-A316-1C76735C9C38}" srcOrd="3" destOrd="0" presId="urn:microsoft.com/office/officeart/2005/8/layout/hProcess3"/>
    <dgm:cxn modelId="{75406545-439F-4433-BD23-F11C046DF537}" type="presParOf" srcId="{9FEAC01D-6CE0-4E34-BCD3-B524AB81DB11}" destId="{F10E7826-7EC7-4EDF-883D-AA11BBA46F5F}" srcOrd="2" destOrd="0" presId="urn:microsoft.com/office/officeart/2005/8/layout/hProcess3"/>
    <dgm:cxn modelId="{53C6B142-E8C1-44E5-B765-320DB9978ACE}" type="presParOf" srcId="{9FEAC01D-6CE0-4E34-BCD3-B524AB81DB11}" destId="{5B2FE3D2-FDEF-4D80-999A-00CBAA6A6207}" srcOrd="3" destOrd="0" presId="urn:microsoft.com/office/officeart/2005/8/layout/hProcess3"/>
    <dgm:cxn modelId="{F7872D21-552B-4CBA-9FCB-88F3D2A5B89E}" type="presParOf" srcId="{9FEAC01D-6CE0-4E34-BCD3-B524AB81DB11}" destId="{4CBA07BE-800D-4A78-94BC-39F7CF6DA778}" srcOrd="4" destOrd="0" presId="urn:microsoft.com/office/officeart/2005/8/layout/hProcess3"/>
  </dgm:cxnLst>
  <dgm:bg/>
  <dgm:whole/>
  <dgm:extLst>
    <a:ext uri="http://schemas.microsoft.com/office/drawing/2008/diagram">
      <dsp:dataModelExt xmlns:dsp="http://schemas.microsoft.com/office/drawing/2008/diagram" xmlns="" relId="rId26" minVer="http://schemas.openxmlformats.org/drawingml/2006/diagram"/>
    </a:ext>
  </dgm:extLst>
</dgm:dataModel>
</file>

<file path=ppt/diagrams/data6.xml><?xml version="1.0" encoding="utf-8"?>
<dgm:dataModel xmlns:dgm="http://schemas.openxmlformats.org/drawingml/2006/diagram" xmlns:a="http://schemas.openxmlformats.org/drawingml/2006/main">
  <dgm:ptLst>
    <dgm:pt modelId="{37694391-5AC1-4FD0-94A5-120A855D2E1D}" type="doc">
      <dgm:prSet loTypeId="urn:microsoft.com/office/officeart/2005/8/layout/hProcess3" loCatId="process" qsTypeId="urn:microsoft.com/office/officeart/2005/8/quickstyle/3d2#20" qsCatId="3D" csTypeId="urn:microsoft.com/office/officeart/2005/8/colors/accent6_2" csCatId="accent6" phldr="1"/>
      <dgm:spPr/>
    </dgm:pt>
    <dgm:pt modelId="{EE2AB700-4AEE-42F3-BB28-D1EB6B0EE0FB}">
      <dgm:prSet phldrT="[Текст]"/>
      <dgm:spPr/>
      <dgm:t>
        <a:bodyPr/>
        <a:lstStyle/>
        <a:p>
          <a:r>
            <a:rPr lang="ru-RU" b="1" i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Информация по торговле и общественному питанию</a:t>
          </a:r>
          <a:endParaRPr lang="ru-RU" b="1" dirty="0">
            <a:solidFill>
              <a:srgbClr val="002060"/>
            </a:solidFill>
            <a:latin typeface="Arial" panose="020B0604020202020204" pitchFamily="34" charset="0"/>
            <a:cs typeface="Arial" panose="020B0604020202020204" pitchFamily="34" charset="0"/>
          </a:endParaRPr>
        </a:p>
      </dgm:t>
    </dgm:pt>
    <dgm:pt modelId="{31A27FF1-8F87-4EE5-AE8A-E2D33CDEAB5F}" type="parTrans" cxnId="{CAB97DAB-B377-4311-B7C1-CD668330B821}">
      <dgm:prSet/>
      <dgm:spPr/>
      <dgm:t>
        <a:bodyPr/>
        <a:lstStyle/>
        <a:p>
          <a:endParaRPr lang="ru-RU"/>
        </a:p>
      </dgm:t>
    </dgm:pt>
    <dgm:pt modelId="{669136D9-8B5C-430D-AC6C-9026D7A5218C}" type="sibTrans" cxnId="{CAB97DAB-B377-4311-B7C1-CD668330B821}">
      <dgm:prSet/>
      <dgm:spPr/>
      <dgm:t>
        <a:bodyPr/>
        <a:lstStyle/>
        <a:p>
          <a:endParaRPr lang="ru-RU"/>
        </a:p>
      </dgm:t>
    </dgm:pt>
    <dgm:pt modelId="{02A44902-BE8D-4690-A734-D170DB4064B6}" type="pres">
      <dgm:prSet presAssocID="{37694391-5AC1-4FD0-94A5-120A855D2E1D}" presName="Name0" presStyleCnt="0">
        <dgm:presLayoutVars>
          <dgm:dir/>
          <dgm:animLvl val="lvl"/>
          <dgm:resizeHandles val="exact"/>
        </dgm:presLayoutVars>
      </dgm:prSet>
      <dgm:spPr/>
    </dgm:pt>
    <dgm:pt modelId="{F67B3A75-ECE4-4DAC-AF85-5F12B335C6C0}" type="pres">
      <dgm:prSet presAssocID="{37694391-5AC1-4FD0-94A5-120A855D2E1D}" presName="dummy" presStyleCnt="0"/>
      <dgm:spPr/>
    </dgm:pt>
    <dgm:pt modelId="{9FEAC01D-6CE0-4E34-BCD3-B524AB81DB11}" type="pres">
      <dgm:prSet presAssocID="{37694391-5AC1-4FD0-94A5-120A855D2E1D}" presName="linH" presStyleCnt="0"/>
      <dgm:spPr/>
    </dgm:pt>
    <dgm:pt modelId="{DF4D0657-E131-4821-AA78-22D5A40FE68C}" type="pres">
      <dgm:prSet presAssocID="{37694391-5AC1-4FD0-94A5-120A855D2E1D}" presName="padding1" presStyleCnt="0"/>
      <dgm:spPr/>
    </dgm:pt>
    <dgm:pt modelId="{F9A90AF9-A59C-4BBF-83FA-DD92E914CE94}" type="pres">
      <dgm:prSet presAssocID="{EE2AB700-4AEE-42F3-BB28-D1EB6B0EE0FB}" presName="linV" presStyleCnt="0"/>
      <dgm:spPr/>
    </dgm:pt>
    <dgm:pt modelId="{4EFC1FF5-B218-410A-AF67-B61EEAD7B468}" type="pres">
      <dgm:prSet presAssocID="{EE2AB700-4AEE-42F3-BB28-D1EB6B0EE0FB}" presName="spVertical1" presStyleCnt="0"/>
      <dgm:spPr/>
    </dgm:pt>
    <dgm:pt modelId="{F7DACB04-0AB0-4CFD-8B50-9581988C3176}" type="pres">
      <dgm:prSet presAssocID="{EE2AB700-4AEE-42F3-BB28-D1EB6B0EE0FB}" presName="parTx" presStyleLbl="revTx" presStyleIdx="0" presStyleCnt="1" custScaleX="105761">
        <dgm:presLayoutVars>
          <dgm:chMax val="0"/>
          <dgm:chPref val="0"/>
          <dgm:bulletEnabled val="1"/>
        </dgm:presLayoutVars>
      </dgm:prSet>
      <dgm:spPr/>
      <dgm:t>
        <a:bodyPr/>
        <a:lstStyle/>
        <a:p>
          <a:endParaRPr lang="ru-RU"/>
        </a:p>
      </dgm:t>
    </dgm:pt>
    <dgm:pt modelId="{77F3A543-8973-46D2-8AF1-BB0B621363AD}" type="pres">
      <dgm:prSet presAssocID="{EE2AB700-4AEE-42F3-BB28-D1EB6B0EE0FB}" presName="spVertical2" presStyleCnt="0"/>
      <dgm:spPr/>
    </dgm:pt>
    <dgm:pt modelId="{430F880E-9D60-464C-A316-1C76735C9C38}" type="pres">
      <dgm:prSet presAssocID="{EE2AB700-4AEE-42F3-BB28-D1EB6B0EE0FB}" presName="spVertical3" presStyleCnt="0"/>
      <dgm:spPr/>
    </dgm:pt>
    <dgm:pt modelId="{F10E7826-7EC7-4EDF-883D-AA11BBA46F5F}" type="pres">
      <dgm:prSet presAssocID="{37694391-5AC1-4FD0-94A5-120A855D2E1D}" presName="padding2" presStyleCnt="0"/>
      <dgm:spPr/>
    </dgm:pt>
    <dgm:pt modelId="{5B2FE3D2-FDEF-4D80-999A-00CBAA6A6207}" type="pres">
      <dgm:prSet presAssocID="{37694391-5AC1-4FD0-94A5-120A855D2E1D}" presName="negArrow" presStyleCnt="0"/>
      <dgm:spPr/>
    </dgm:pt>
    <dgm:pt modelId="{4CBA07BE-800D-4A78-94BC-39F7CF6DA778}" type="pres">
      <dgm:prSet presAssocID="{37694391-5AC1-4FD0-94A5-120A855D2E1D}" presName="backgroundArrow" presStyleLbl="node1" presStyleIdx="0" presStyleCnt="1" custLinFactNeighborX="-247" custLinFactNeighborY="-18616"/>
      <dgm:spPr>
        <a:solidFill>
          <a:schemeClr val="accent5">
            <a:lumMod val="20000"/>
            <a:lumOff val="80000"/>
          </a:schemeClr>
        </a:solidFill>
      </dgm:spPr>
    </dgm:pt>
  </dgm:ptLst>
  <dgm:cxnLst>
    <dgm:cxn modelId="{AE822E17-324E-4911-9DE9-F89B7C11564D}" type="presOf" srcId="{EE2AB700-4AEE-42F3-BB28-D1EB6B0EE0FB}" destId="{F7DACB04-0AB0-4CFD-8B50-9581988C3176}" srcOrd="0" destOrd="0" presId="urn:microsoft.com/office/officeart/2005/8/layout/hProcess3"/>
    <dgm:cxn modelId="{CAB97DAB-B377-4311-B7C1-CD668330B821}" srcId="{37694391-5AC1-4FD0-94A5-120A855D2E1D}" destId="{EE2AB700-4AEE-42F3-BB28-D1EB6B0EE0FB}" srcOrd="0" destOrd="0" parTransId="{31A27FF1-8F87-4EE5-AE8A-E2D33CDEAB5F}" sibTransId="{669136D9-8B5C-430D-AC6C-9026D7A5218C}"/>
    <dgm:cxn modelId="{D9B03B7A-CFD7-43D8-8843-319A846218EB}" type="presOf" srcId="{37694391-5AC1-4FD0-94A5-120A855D2E1D}" destId="{02A44902-BE8D-4690-A734-D170DB4064B6}" srcOrd="0" destOrd="0" presId="urn:microsoft.com/office/officeart/2005/8/layout/hProcess3"/>
    <dgm:cxn modelId="{CDB92D06-17E9-4D9B-A8D3-B1D699BF2878}" type="presParOf" srcId="{02A44902-BE8D-4690-A734-D170DB4064B6}" destId="{F67B3A75-ECE4-4DAC-AF85-5F12B335C6C0}" srcOrd="0" destOrd="0" presId="urn:microsoft.com/office/officeart/2005/8/layout/hProcess3"/>
    <dgm:cxn modelId="{9B7C29F5-0336-42EF-8CC0-D97C56C75361}" type="presParOf" srcId="{02A44902-BE8D-4690-A734-D170DB4064B6}" destId="{9FEAC01D-6CE0-4E34-BCD3-B524AB81DB11}" srcOrd="1" destOrd="0" presId="urn:microsoft.com/office/officeart/2005/8/layout/hProcess3"/>
    <dgm:cxn modelId="{59A8EF75-EF62-4978-B29B-1DB75FE51866}" type="presParOf" srcId="{9FEAC01D-6CE0-4E34-BCD3-B524AB81DB11}" destId="{DF4D0657-E131-4821-AA78-22D5A40FE68C}" srcOrd="0" destOrd="0" presId="urn:microsoft.com/office/officeart/2005/8/layout/hProcess3"/>
    <dgm:cxn modelId="{D2777B3B-88D1-4DBF-9289-14F106D7468D}" type="presParOf" srcId="{9FEAC01D-6CE0-4E34-BCD3-B524AB81DB11}" destId="{F9A90AF9-A59C-4BBF-83FA-DD92E914CE94}" srcOrd="1" destOrd="0" presId="urn:microsoft.com/office/officeart/2005/8/layout/hProcess3"/>
    <dgm:cxn modelId="{08F328BF-5DB7-4739-9F1B-87482E3580F8}" type="presParOf" srcId="{F9A90AF9-A59C-4BBF-83FA-DD92E914CE94}" destId="{4EFC1FF5-B218-410A-AF67-B61EEAD7B468}" srcOrd="0" destOrd="0" presId="urn:microsoft.com/office/officeart/2005/8/layout/hProcess3"/>
    <dgm:cxn modelId="{76124912-D454-445B-8498-6634EF6A1DD4}" type="presParOf" srcId="{F9A90AF9-A59C-4BBF-83FA-DD92E914CE94}" destId="{F7DACB04-0AB0-4CFD-8B50-9581988C3176}" srcOrd="1" destOrd="0" presId="urn:microsoft.com/office/officeart/2005/8/layout/hProcess3"/>
    <dgm:cxn modelId="{F9F5488E-DB37-474B-A9A0-EE77CA339DE5}" type="presParOf" srcId="{F9A90AF9-A59C-4BBF-83FA-DD92E914CE94}" destId="{77F3A543-8973-46D2-8AF1-BB0B621363AD}" srcOrd="2" destOrd="0" presId="urn:microsoft.com/office/officeart/2005/8/layout/hProcess3"/>
    <dgm:cxn modelId="{633ECB31-C607-4632-BF2B-3FC87210E273}" type="presParOf" srcId="{F9A90AF9-A59C-4BBF-83FA-DD92E914CE94}" destId="{430F880E-9D60-464C-A316-1C76735C9C38}" srcOrd="3" destOrd="0" presId="urn:microsoft.com/office/officeart/2005/8/layout/hProcess3"/>
    <dgm:cxn modelId="{3137C803-B403-410C-90A9-543C19CC9281}" type="presParOf" srcId="{9FEAC01D-6CE0-4E34-BCD3-B524AB81DB11}" destId="{F10E7826-7EC7-4EDF-883D-AA11BBA46F5F}" srcOrd="2" destOrd="0" presId="urn:microsoft.com/office/officeart/2005/8/layout/hProcess3"/>
    <dgm:cxn modelId="{72714201-83C6-4A13-A22B-FBC5379A04E8}" type="presParOf" srcId="{9FEAC01D-6CE0-4E34-BCD3-B524AB81DB11}" destId="{5B2FE3D2-FDEF-4D80-999A-00CBAA6A6207}" srcOrd="3" destOrd="0" presId="urn:microsoft.com/office/officeart/2005/8/layout/hProcess3"/>
    <dgm:cxn modelId="{E3AAE0E2-1B2D-4798-BDEA-9884B8C10A76}" type="presParOf" srcId="{9FEAC01D-6CE0-4E34-BCD3-B524AB81DB11}" destId="{4CBA07BE-800D-4A78-94BC-39F7CF6DA778}" srcOrd="4" destOrd="0" presId="urn:microsoft.com/office/officeart/2005/8/layout/hProcess3"/>
  </dgm:cxnLst>
  <dgm:bg/>
  <dgm:whole/>
  <dgm:extLst>
    <a:ext uri="http://schemas.microsoft.com/office/drawing/2008/diagram">
      <dsp:dataModelExt xmlns:dsp="http://schemas.microsoft.com/office/drawing/2008/diagram" xmlns="" relId="rId31" minVer="http://schemas.openxmlformats.org/drawingml/2006/diagram"/>
    </a:ext>
  </dgm:extLst>
</dgm:dataModel>
</file>

<file path=ppt/diagrams/drawing10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CBA07BE-800D-4A78-94BC-39F7CF6DA778}">
      <dsp:nvSpPr>
        <dsp:cNvPr id="0" name=""/>
        <dsp:cNvSpPr/>
      </dsp:nvSpPr>
      <dsp:spPr>
        <a:xfrm>
          <a:off x="0" y="0"/>
          <a:ext cx="4981355" cy="1028700"/>
        </a:xfrm>
        <a:prstGeom prst="rightArrow">
          <a:avLst/>
        </a:prstGeom>
        <a:solidFill>
          <a:schemeClr val="accent1">
            <a:lumMod val="60000"/>
            <a:lumOff val="40000"/>
          </a:schemeClr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F7DACB04-0AB0-4CFD-8B50-9581988C3176}">
      <dsp:nvSpPr>
        <dsp:cNvPr id="0" name=""/>
        <dsp:cNvSpPr/>
      </dsp:nvSpPr>
      <dsp:spPr>
        <a:xfrm>
          <a:off x="267397" y="283521"/>
          <a:ext cx="4324633" cy="49503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81280" rIns="0" bIns="812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800" b="1" i="1" kern="12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Списочная численность работников сферы туризма, среднемесячная номинальная начисленная заработная плата работников занятых в сфере туризма</a:t>
          </a:r>
          <a:endParaRPr lang="ru-RU" sz="800" b="1" kern="1200" dirty="0">
            <a:solidFill>
              <a:srgbClr val="002060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267397" y="283521"/>
        <a:ext cx="4324633" cy="495035"/>
      </dsp:txXfrm>
    </dsp:sp>
  </dsp:spTree>
</dsp:drawing>
</file>

<file path=ppt/diagrams/drawing11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CBA07BE-800D-4A78-94BC-39F7CF6DA778}">
      <dsp:nvSpPr>
        <dsp:cNvPr id="0" name=""/>
        <dsp:cNvSpPr/>
      </dsp:nvSpPr>
      <dsp:spPr>
        <a:xfrm>
          <a:off x="0" y="0"/>
          <a:ext cx="3013089" cy="839549"/>
        </a:xfrm>
        <a:prstGeom prst="rightArrow">
          <a:avLst/>
        </a:prstGeom>
        <a:solidFill>
          <a:schemeClr val="accent5">
            <a:lumMod val="20000"/>
            <a:lumOff val="80000"/>
          </a:schemeClr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F7DACB04-0AB0-4CFD-8B50-9581988C3176}">
      <dsp:nvSpPr>
        <dsp:cNvPr id="0" name=""/>
        <dsp:cNvSpPr/>
      </dsp:nvSpPr>
      <dsp:spPr>
        <a:xfrm>
          <a:off x="242755" y="233347"/>
          <a:ext cx="2548716" cy="419774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91440" rIns="0" bIns="91440" numCol="1" spcCol="1270" anchor="ctr" anchorCtr="0">
          <a:noAutofit/>
        </a:bodyPr>
        <a:lstStyle/>
        <a:p>
          <a:pPr marL="0" lvl="0" indent="0" algn="ctr" defTabSz="4000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900" b="1" i="1" kern="12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Информация по торговле и общественному питанию</a:t>
          </a:r>
          <a:endParaRPr lang="ru-RU" sz="900" b="1" kern="1200" dirty="0">
            <a:solidFill>
              <a:srgbClr val="002060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242755" y="233347"/>
        <a:ext cx="2548716" cy="419774"/>
      </dsp:txXfrm>
    </dsp:sp>
  </dsp:spTree>
</dsp:drawing>
</file>

<file path=ppt/diagrams/drawing6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CBA07BE-800D-4A78-94BC-39F7CF6DA778}">
      <dsp:nvSpPr>
        <dsp:cNvPr id="0" name=""/>
        <dsp:cNvSpPr/>
      </dsp:nvSpPr>
      <dsp:spPr>
        <a:xfrm>
          <a:off x="0" y="42779"/>
          <a:ext cx="5480460" cy="873290"/>
        </a:xfrm>
        <a:prstGeom prst="rightArrow">
          <a:avLst/>
        </a:prstGeom>
        <a:solidFill>
          <a:schemeClr val="accent5">
            <a:lumMod val="60000"/>
            <a:lumOff val="40000"/>
          </a:schemeClr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F7DACB04-0AB0-4CFD-8B50-9581988C3176}">
      <dsp:nvSpPr>
        <dsp:cNvPr id="0" name=""/>
        <dsp:cNvSpPr/>
      </dsp:nvSpPr>
      <dsp:spPr>
        <a:xfrm>
          <a:off x="442013" y="261102"/>
          <a:ext cx="4798734" cy="436645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71120" rIns="0" bIns="7112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700" b="1" i="1" kern="12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Показатели «Валовая добавленная стоимость, создаваемая в отраслях туризма», «Валовая добавленная стоимость, создаваемая непосредственно в туризме» и остальные показатели по Вспомогательному счету туризму</a:t>
          </a:r>
          <a:endParaRPr lang="ru-RU" sz="700" b="1" kern="1200" dirty="0">
            <a:solidFill>
              <a:srgbClr val="002060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442013" y="261102"/>
        <a:ext cx="4798734" cy="436645"/>
      </dsp:txXfrm>
    </dsp:sp>
  </dsp:spTree>
</dsp:drawing>
</file>

<file path=ppt/diagrams/drawing7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CBA07BE-800D-4A78-94BC-39F7CF6DA778}">
      <dsp:nvSpPr>
        <dsp:cNvPr id="0" name=""/>
        <dsp:cNvSpPr/>
      </dsp:nvSpPr>
      <dsp:spPr>
        <a:xfrm>
          <a:off x="0" y="60555"/>
          <a:ext cx="4311650" cy="1038038"/>
        </a:xfrm>
        <a:prstGeom prst="rightArrow">
          <a:avLst/>
        </a:prstGeom>
        <a:solidFill>
          <a:schemeClr val="accent1">
            <a:lumMod val="40000"/>
            <a:lumOff val="60000"/>
          </a:schemeClr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F7DACB04-0AB0-4CFD-8B50-9581988C3176}">
      <dsp:nvSpPr>
        <dsp:cNvPr id="0" name=""/>
        <dsp:cNvSpPr/>
      </dsp:nvSpPr>
      <dsp:spPr>
        <a:xfrm>
          <a:off x="346012" y="320065"/>
          <a:ext cx="3675850" cy="519019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71120" rIns="0" bIns="71120" numCol="1" spcCol="1270" anchor="ctr" anchorCtr="0">
          <a:noAutofit/>
        </a:bodyPr>
        <a:lstStyle/>
        <a:p>
          <a:pPr marL="0" lvl="0" indent="0" algn="ctr" defTabSz="31115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700" b="1" i="1" kern="12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Основные показатели по финансово-хозяйственной деятельности туроператоров, </a:t>
          </a:r>
          <a:r>
            <a:rPr lang="ru-RU" sz="700" b="1" i="1" kern="1200" dirty="0" err="1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турагентов</a:t>
          </a:r>
          <a:r>
            <a:rPr lang="ru-RU" sz="700" b="1" i="1" kern="12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 и прочих организаций, предоставляющих услуги в сфере туризма, в частности доход от реализации продукции и оказания услуг</a:t>
          </a:r>
          <a:endParaRPr lang="ru-RU" sz="700" b="1" kern="1200" dirty="0">
            <a:solidFill>
              <a:srgbClr val="002060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346012" y="320065"/>
        <a:ext cx="3675850" cy="519019"/>
      </dsp:txXfrm>
    </dsp:sp>
  </dsp:spTree>
</dsp:drawing>
</file>

<file path=ppt/diagrams/drawing8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CBA07BE-800D-4A78-94BC-39F7CF6DA778}">
      <dsp:nvSpPr>
        <dsp:cNvPr id="0" name=""/>
        <dsp:cNvSpPr/>
      </dsp:nvSpPr>
      <dsp:spPr>
        <a:xfrm>
          <a:off x="0" y="0"/>
          <a:ext cx="2559048" cy="783367"/>
        </a:xfrm>
        <a:prstGeom prst="rightArrow">
          <a:avLst/>
        </a:prstGeom>
        <a:solidFill>
          <a:schemeClr val="tx2">
            <a:lumMod val="20000"/>
            <a:lumOff val="80000"/>
          </a:schemeClr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F7DACB04-0AB0-4CFD-8B50-9581988C3176}">
      <dsp:nvSpPr>
        <dsp:cNvPr id="0" name=""/>
        <dsp:cNvSpPr/>
      </dsp:nvSpPr>
      <dsp:spPr>
        <a:xfrm>
          <a:off x="162782" y="240335"/>
          <a:ext cx="2149201" cy="324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81280" rIns="0" bIns="812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800" b="1" i="1" kern="12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Инвестиции в сфере туризма</a:t>
          </a:r>
          <a:endParaRPr lang="ru-RU" sz="800" b="1" kern="1200" dirty="0">
            <a:solidFill>
              <a:srgbClr val="002060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162782" y="240335"/>
        <a:ext cx="2149201" cy="324000"/>
      </dsp:txXfrm>
    </dsp:sp>
  </dsp:spTree>
</dsp:drawing>
</file>

<file path=ppt/diagrams/drawing9.xml><?xml version="1.0" encoding="utf-8"?>
<dsp:drawing xmlns:dgm="http://schemas.openxmlformats.org/drawingml/2006/diagram" xmlns:dsp="http://schemas.microsoft.com/office/drawing/2008/diagram" xmlns:a="http://schemas.openxmlformats.org/drawingml/2006/main">
  <dsp:spTree>
    <dsp:nvGrpSpPr>
      <dsp:cNvPr id="0" name=""/>
      <dsp:cNvGrpSpPr/>
    </dsp:nvGrpSpPr>
    <dsp:grpSpPr/>
    <dsp:sp modelId="{4CBA07BE-800D-4A78-94BC-39F7CF6DA778}">
      <dsp:nvSpPr>
        <dsp:cNvPr id="0" name=""/>
        <dsp:cNvSpPr/>
      </dsp:nvSpPr>
      <dsp:spPr>
        <a:xfrm>
          <a:off x="0" y="5075"/>
          <a:ext cx="3625850" cy="936000"/>
        </a:xfrm>
        <a:prstGeom prst="rightArrow">
          <a:avLst/>
        </a:prstGeom>
        <a:solidFill>
          <a:schemeClr val="accent5">
            <a:lumMod val="40000"/>
            <a:lumOff val="60000"/>
          </a:schemeClr>
        </a:solidFill>
        <a:ln>
          <a:noFill/>
        </a:ln>
        <a:effectLst/>
        <a:scene3d>
          <a:camera prst="orthographicFront"/>
          <a:lightRig rig="threePt" dir="t">
            <a:rot lat="0" lon="0" rev="7500000"/>
          </a:lightRig>
        </a:scene3d>
        <a:sp3d prstMaterial="plastic">
          <a:bevelT w="127000" h="25400" prst="relaxedInset"/>
        </a:sp3d>
      </dsp:spPr>
      <dsp:style>
        <a:lnRef idx="0">
          <a:scrgbClr r="0" g="0" b="0"/>
        </a:lnRef>
        <a:fillRef idx="3">
          <a:scrgbClr r="0" g="0" b="0"/>
        </a:fillRef>
        <a:effectRef idx="2">
          <a:scrgbClr r="0" g="0" b="0"/>
        </a:effectRef>
        <a:fontRef idx="minor">
          <a:schemeClr val="lt1"/>
        </a:fontRef>
      </dsp:style>
    </dsp:sp>
    <dsp:sp modelId="{F7DACB04-0AB0-4CFD-8B50-9581988C3176}">
      <dsp:nvSpPr>
        <dsp:cNvPr id="0" name=""/>
        <dsp:cNvSpPr/>
      </dsp:nvSpPr>
      <dsp:spPr>
        <a:xfrm>
          <a:off x="324853" y="239075"/>
          <a:ext cx="3030656" cy="468000"/>
        </a:xfrm>
        <a:prstGeom prst="rect">
          <a:avLst/>
        </a:prstGeom>
        <a:noFill/>
        <a:ln>
          <a:noFill/>
        </a:ln>
        <a:effectLst/>
      </dsp:spPr>
      <dsp:style>
        <a:lnRef idx="0">
          <a:scrgbClr r="0" g="0" b="0"/>
        </a:lnRef>
        <a:fillRef idx="0">
          <a:scrgbClr r="0" g="0" b="0"/>
        </a:fillRef>
        <a:effectRef idx="0">
          <a:scrgbClr r="0" g="0" b="0"/>
        </a:effectRef>
        <a:fontRef idx="minor"/>
      </dsp:style>
      <dsp:txBody>
        <a:bodyPr spcFirstLastPara="0" vert="horz" wrap="square" lIns="0" tIns="81280" rIns="0" bIns="81280" numCol="1" spcCol="1270" anchor="ctr" anchorCtr="0">
          <a:noAutofit/>
        </a:bodyPr>
        <a:lstStyle/>
        <a:p>
          <a:pPr marL="0" lvl="0" indent="0" algn="ctr" defTabSz="355600">
            <a:lnSpc>
              <a:spcPct val="90000"/>
            </a:lnSpc>
            <a:spcBef>
              <a:spcPct val="0"/>
            </a:spcBef>
            <a:spcAft>
              <a:spcPct val="35000"/>
            </a:spcAft>
            <a:buNone/>
          </a:pPr>
          <a:r>
            <a:rPr lang="ru-RU" sz="800" b="1" i="1" kern="12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rPr>
            <a:t>Данные по санаторно-курортным организациям</a:t>
          </a:r>
          <a:endParaRPr lang="ru-RU" sz="800" b="1" kern="1200" dirty="0">
            <a:solidFill>
              <a:srgbClr val="002060"/>
            </a:solidFill>
            <a:latin typeface="Arial" panose="020B0604020202020204" pitchFamily="34" charset="0"/>
            <a:cs typeface="Arial" panose="020B0604020202020204" pitchFamily="34" charset="0"/>
          </a:endParaRPr>
        </a:p>
      </dsp:txBody>
      <dsp:txXfrm>
        <a:off x="324853" y="239075"/>
        <a:ext cx="3030656" cy="468000"/>
      </dsp:txXfrm>
    </dsp:sp>
  </dsp:spTree>
</dsp:drawing>
</file>

<file path=ppt/diagrams/layout1.xml><?xml version="1.0" encoding="utf-8"?>
<dgm:layoutDef xmlns:dgm="http://schemas.openxmlformats.org/drawingml/2006/diagram" xmlns:a="http://schemas.openxmlformats.org/drawingml/2006/main" uniqueId="urn:microsoft.com/office/officeart/2005/8/layout/hProcess3">
  <dgm:title val=""/>
  <dgm:desc val=""/>
  <dgm:catLst>
    <dgm:cat type="process" pri="6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 chOrder="t">
    <dgm:varLst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dummy" refType="w"/>
      <dgm:constr type="h" for="ch" forName="dummy" refType="h"/>
      <dgm:constr type="h" for="ch" forName="dummy" refType="w" refFor="ch" refForName="dummy" op="lte" fact="0.4"/>
      <dgm:constr type="ctrX" for="ch" forName="dummy" refType="w" fact="0.5"/>
      <dgm:constr type="ctrY" for="ch" forName="dummy" refType="h" fact="0.5"/>
      <dgm:constr type="w" for="ch" forName="linH" refType="w"/>
      <dgm:constr type="h" for="ch" forName="linH" refType="h"/>
      <dgm:constr type="ctrX" for="ch" forName="linH" refType="w" fact="0.5"/>
      <dgm:constr type="ctrY" for="ch" forName="linH" refType="h" fact="0.5"/>
      <dgm:constr type="userP" for="ch" forName="linH" refType="h" refFor="ch" refForName="dummy" fact="0.25"/>
      <dgm:constr type="userT" for="des" forName="parTx" refType="w" refFor="ch" refForName="dummy" fact="0.2"/>
    </dgm:constrLst>
    <dgm:ruleLst/>
    <dgm:layoutNode name="dummy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linH">
      <dgm:choose name="Name1">
        <dgm:if name="Name2" func="var" arg="dir" op="equ" val="norm">
          <dgm:alg type="lin">
            <dgm:param type="linDir" val="fromL"/>
            <dgm:param type="nodeVertAlign" val="t"/>
          </dgm:alg>
        </dgm:if>
        <dgm:else name="Name3">
          <dgm:alg type="lin">
            <dgm:param type="linDir" val="fromR"/>
            <dgm:param type="nodeVertAlign" val="t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primFontSz" for="des" forName="parTx" val="65"/>
        <dgm:constr type="primFontSz" for="des" forName="desTx" refType="primFontSz" refFor="des" refForName="parTx" op="equ"/>
        <dgm:constr type="h" for="des" forName="parTx" refType="primFontSz" refFor="des" refForName="parTx"/>
        <dgm:constr type="h" for="des" forName="desTx" refType="primFontSz" refFor="des" refForName="parTx" fact="0.5"/>
        <dgm:constr type="h" for="des" forName="parTx" op="equ"/>
        <dgm:constr type="h" for="des" forName="desTx" op="equ"/>
        <dgm:constr type="h" for="ch" forName="backgroundArrow" refType="primFontSz" refFor="des" refForName="parTx" fact="2"/>
        <dgm:constr type="h" for="ch" forName="backgroundArrow" refType="h" refFor="des" refForName="parTx" op="lte" fact="2"/>
        <dgm:constr type="h" for="ch" forName="backgroundArrow" refType="h" refFor="des" refForName="parTx" op="gte" fact="2"/>
        <dgm:constr type="h" for="des" forName="spVertical1" refType="primFontSz" refFor="des" refForName="parTx" fact="0.5"/>
        <dgm:constr type="h" for="des" forName="spVertical1" refType="h" refFor="des" refForName="parTx" op="lte" fact="0.5"/>
        <dgm:constr type="h" for="des" forName="spVertical1" refType="h" refFor="des" refForName="parTx" op="gte" fact="0.5"/>
        <dgm:constr type="h" for="des" forName="spVertical2" refType="primFontSz" refFor="des" refForName="parTx" fact="0.5"/>
        <dgm:constr type="h" for="des" forName="spVertical2" refType="h" refFor="des" refForName="parTx" op="lte" fact="0.5"/>
        <dgm:constr type="h" for="des" forName="spVertical2" refType="h" refFor="des" refForName="parTx" op="gte" fact="0.5"/>
        <dgm:constr type="h" for="des" forName="spVertical3" refType="primFontSz" refFor="des" refForName="parTx" fact="-0.4"/>
        <dgm:constr type="h" for="des" forName="spVertical3" refType="h" refFor="des" refForName="parTx" op="lte" fact="-0.4"/>
        <dgm:constr type="h" for="des" forName="spVertical3" refType="h" refFor="des" refForName="parTx" op="gte" fact="-0.4"/>
        <dgm:constr type="w" for="ch" forName="backgroundArrow" refType="w"/>
        <dgm:constr type="w" for="ch" forName="negArrow" refType="w" fact="-1"/>
        <dgm:constr type="w" for="ch" forName="linV" refType="w"/>
        <dgm:constr type="w" for="ch" forName="space" refType="w" refFor="ch" refForName="linV" fact="0.2"/>
        <dgm:constr type="w" for="ch" forName="padding1" refType="w" fact="0.08"/>
        <dgm:constr type="userP"/>
        <dgm:constr type="w" for="ch" forName="padding2" refType="userP"/>
      </dgm:constrLst>
      <dgm:ruleLst>
        <dgm:rule type="w" for="ch" forName="linV" val="0" fact="NaN" max="NaN"/>
        <dgm:rule type="primFontSz" for="des" forName="parTx" val="5" fact="NaN" max="NaN"/>
      </dgm:ruleLst>
      <dgm:layoutNode name="padding1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forEach name="Name4" axis="ch" ptType="node">
        <dgm:layoutNode name="linV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spVertical1" refType="w"/>
            <dgm:constr type="w" for="ch" forName="parTx" refType="w"/>
            <dgm:constr type="w" for="ch" forName="spVertical2" refType="w"/>
            <dgm:constr type="w" for="ch" forName="spVertical3" refType="w"/>
            <dgm:constr type="w" for="ch" forName="desTx" refType="w"/>
          </dgm:constrLst>
          <dgm:ruleLst/>
          <dgm:layoutNode name="spVertical1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  <dgm:layoutNode name="parTx" styleLbl="revTx">
            <dgm:varLst>
              <dgm:chMax val="0"/>
              <dgm:chPref val="0"/>
              <dgm:bulletEnabled val="1"/>
            </dgm:varLst>
            <dgm:choose name="Name5">
              <dgm:if name="Name6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7">
                <dgm:alg type="tx">
                  <dgm:param type="parTxLTRAlign" val="ctr"/>
                  <dgm:param type="parTxRTLAlign" val="ct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self" ptType="node"/>
            <dgm:choose name="Name8">
              <dgm:if name="Name9" func="var" arg="dir" op="equ" val="norm">
                <dgm:constrLst>
                  <dgm:constr type="userT"/>
                  <dgm:constr type="h" refType="userT" op="lte"/>
                  <dgm:constr type="tMarg" refType="primFontSz" fact="0.8"/>
                  <dgm:constr type="bMarg" refType="tMarg"/>
                  <dgm:constr type="lMarg"/>
                  <dgm:constr type="rMarg"/>
                </dgm:constrLst>
              </dgm:if>
              <dgm:else name="Name10">
                <dgm:constrLst>
                  <dgm:constr type="userT"/>
                  <dgm:constr type="h" refType="userT" op="lte"/>
                  <dgm:constr type="tMarg" refType="primFontSz" fact="0.8"/>
                  <dgm:constr type="bMarg" refType="tMarg"/>
                  <dgm:constr type="lMarg"/>
                  <dgm:constr type="rMarg"/>
                </dgm:constrLst>
              </dgm:else>
            </dgm:choose>
            <dgm:ruleLst>
              <dgm:rule type="h" val="INF" fact="NaN" max="NaN"/>
            </dgm:ruleLst>
          </dgm:layoutNode>
          <dgm:layoutNode name="spVertical2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  <dgm:layoutNode name="spVertical3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  <dgm:choose name="Name11">
            <dgm:if name="Name12" axis="ch" ptType="node" func="cnt" op="gte" val="1">
              <dgm:layoutNode name="desTx" styleLbl="revTx">
                <dgm:varLst>
                  <dgm:bulletEnabled val="1"/>
                </dgm:varLst>
                <dgm:alg type="tx">
                  <dgm:param type="stBulletLvl" val="1"/>
                </dgm:alg>
                <dgm:shape xmlns:r="http://schemas.openxmlformats.org/officeDocument/2006/relationships" type="rect" r:blip="">
                  <dgm:adjLst/>
                </dgm:shape>
                <dgm:presOf axis="des" ptType="node"/>
                <dgm:constrLst>
                  <dgm:constr type="tMarg"/>
                  <dgm:constr type="bMarg"/>
                  <dgm:constr type="rMarg"/>
                  <dgm:constr type="lMarg"/>
                </dgm:constrLst>
                <dgm:ruleLst>
                  <dgm:rule type="h" val="INF" fact="NaN" max="NaN"/>
                </dgm:ruleLst>
              </dgm:layoutNode>
            </dgm:if>
            <dgm:else name="Name13"/>
          </dgm:choose>
        </dgm:layoutNode>
        <dgm:forEach name="Name14" axis="followSib" ptType="sibTrans" cnt="1">
          <dgm:layoutNode name="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  <dgm:layoutNode name="padding2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negArrow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backgroundArrow" styleLbl="node1">
        <dgm:alg type="sp"/>
        <dgm:choose name="Name15">
          <dgm:if name="Name16" func="var" arg="dir" op="equ" val="norm">
            <dgm:shape xmlns:r="http://schemas.openxmlformats.org/officeDocument/2006/relationships" type="rightArrow" r:blip="">
              <dgm:adjLst/>
            </dgm:shape>
          </dgm:if>
          <dgm:else name="Name17">
            <dgm:shape xmlns:r="http://schemas.openxmlformats.org/officeDocument/2006/relationships" type="leftArrow" r:blip="">
              <dgm:adjLst/>
            </dgm:shape>
          </dgm:else>
        </dgm:choose>
        <dgm:presOf/>
        <dgm:constrLst/>
        <dgm:ruleLst/>
      </dgm:layoutNode>
    </dgm:layoutNode>
  </dgm:layoutNode>
</dgm:layoutDef>
</file>

<file path=ppt/diagrams/layout2.xml><?xml version="1.0" encoding="utf-8"?>
<dgm:layoutDef xmlns:dgm="http://schemas.openxmlformats.org/drawingml/2006/diagram" xmlns:a="http://schemas.openxmlformats.org/drawingml/2006/main" uniqueId="urn:microsoft.com/office/officeart/2005/8/layout/hProcess3">
  <dgm:title val=""/>
  <dgm:desc val=""/>
  <dgm:catLst>
    <dgm:cat type="process" pri="6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 chOrder="t">
    <dgm:varLst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dummy" refType="w"/>
      <dgm:constr type="h" for="ch" forName="dummy" refType="h"/>
      <dgm:constr type="h" for="ch" forName="dummy" refType="w" refFor="ch" refForName="dummy" op="lte" fact="0.4"/>
      <dgm:constr type="ctrX" for="ch" forName="dummy" refType="w" fact="0.5"/>
      <dgm:constr type="ctrY" for="ch" forName="dummy" refType="h" fact="0.5"/>
      <dgm:constr type="w" for="ch" forName="linH" refType="w"/>
      <dgm:constr type="h" for="ch" forName="linH" refType="h"/>
      <dgm:constr type="ctrX" for="ch" forName="linH" refType="w" fact="0.5"/>
      <dgm:constr type="ctrY" for="ch" forName="linH" refType="h" fact="0.5"/>
      <dgm:constr type="userP" for="ch" forName="linH" refType="h" refFor="ch" refForName="dummy" fact="0.25"/>
      <dgm:constr type="userT" for="des" forName="parTx" refType="w" refFor="ch" refForName="dummy" fact="0.2"/>
    </dgm:constrLst>
    <dgm:ruleLst/>
    <dgm:layoutNode name="dummy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linH">
      <dgm:choose name="Name1">
        <dgm:if name="Name2" func="var" arg="dir" op="equ" val="norm">
          <dgm:alg type="lin">
            <dgm:param type="linDir" val="fromL"/>
            <dgm:param type="nodeVertAlign" val="t"/>
          </dgm:alg>
        </dgm:if>
        <dgm:else name="Name3">
          <dgm:alg type="lin">
            <dgm:param type="linDir" val="fromR"/>
            <dgm:param type="nodeVertAlign" val="t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primFontSz" for="des" forName="parTx" val="65"/>
        <dgm:constr type="primFontSz" for="des" forName="desTx" refType="primFontSz" refFor="des" refForName="parTx" op="equ"/>
        <dgm:constr type="h" for="des" forName="parTx" refType="primFontSz" refFor="des" refForName="parTx"/>
        <dgm:constr type="h" for="des" forName="desTx" refType="primFontSz" refFor="des" refForName="parTx" fact="0.5"/>
        <dgm:constr type="h" for="des" forName="parTx" op="equ"/>
        <dgm:constr type="h" for="des" forName="desTx" op="equ"/>
        <dgm:constr type="h" for="ch" forName="backgroundArrow" refType="primFontSz" refFor="des" refForName="parTx" fact="2"/>
        <dgm:constr type="h" for="ch" forName="backgroundArrow" refType="h" refFor="des" refForName="parTx" op="lte" fact="2"/>
        <dgm:constr type="h" for="ch" forName="backgroundArrow" refType="h" refFor="des" refForName="parTx" op="gte" fact="2"/>
        <dgm:constr type="h" for="des" forName="spVertical1" refType="primFontSz" refFor="des" refForName="parTx" fact="0.5"/>
        <dgm:constr type="h" for="des" forName="spVertical1" refType="h" refFor="des" refForName="parTx" op="lte" fact="0.5"/>
        <dgm:constr type="h" for="des" forName="spVertical1" refType="h" refFor="des" refForName="parTx" op="gte" fact="0.5"/>
        <dgm:constr type="h" for="des" forName="spVertical2" refType="primFontSz" refFor="des" refForName="parTx" fact="0.5"/>
        <dgm:constr type="h" for="des" forName="spVertical2" refType="h" refFor="des" refForName="parTx" op="lte" fact="0.5"/>
        <dgm:constr type="h" for="des" forName="spVertical2" refType="h" refFor="des" refForName="parTx" op="gte" fact="0.5"/>
        <dgm:constr type="h" for="des" forName="spVertical3" refType="primFontSz" refFor="des" refForName="parTx" fact="-0.4"/>
        <dgm:constr type="h" for="des" forName="spVertical3" refType="h" refFor="des" refForName="parTx" op="lte" fact="-0.4"/>
        <dgm:constr type="h" for="des" forName="spVertical3" refType="h" refFor="des" refForName="parTx" op="gte" fact="-0.4"/>
        <dgm:constr type="w" for="ch" forName="backgroundArrow" refType="w"/>
        <dgm:constr type="w" for="ch" forName="negArrow" refType="w" fact="-1"/>
        <dgm:constr type="w" for="ch" forName="linV" refType="w"/>
        <dgm:constr type="w" for="ch" forName="space" refType="w" refFor="ch" refForName="linV" fact="0.2"/>
        <dgm:constr type="w" for="ch" forName="padding1" refType="w" fact="0.08"/>
        <dgm:constr type="userP"/>
        <dgm:constr type="w" for="ch" forName="padding2" refType="userP"/>
      </dgm:constrLst>
      <dgm:ruleLst>
        <dgm:rule type="w" for="ch" forName="linV" val="0" fact="NaN" max="NaN"/>
        <dgm:rule type="primFontSz" for="des" forName="parTx" val="5" fact="NaN" max="NaN"/>
      </dgm:ruleLst>
      <dgm:layoutNode name="padding1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forEach name="Name4" axis="ch" ptType="node">
        <dgm:layoutNode name="linV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spVertical1" refType="w"/>
            <dgm:constr type="w" for="ch" forName="parTx" refType="w"/>
            <dgm:constr type="w" for="ch" forName="spVertical2" refType="w"/>
            <dgm:constr type="w" for="ch" forName="spVertical3" refType="w"/>
            <dgm:constr type="w" for="ch" forName="desTx" refType="w"/>
          </dgm:constrLst>
          <dgm:ruleLst/>
          <dgm:layoutNode name="spVertical1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  <dgm:layoutNode name="parTx" styleLbl="revTx">
            <dgm:varLst>
              <dgm:chMax val="0"/>
              <dgm:chPref val="0"/>
              <dgm:bulletEnabled val="1"/>
            </dgm:varLst>
            <dgm:choose name="Name5">
              <dgm:if name="Name6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7">
                <dgm:alg type="tx">
                  <dgm:param type="parTxLTRAlign" val="ctr"/>
                  <dgm:param type="parTxRTLAlign" val="ct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self" ptType="node"/>
            <dgm:choose name="Name8">
              <dgm:if name="Name9" func="var" arg="dir" op="equ" val="norm">
                <dgm:constrLst>
                  <dgm:constr type="userT"/>
                  <dgm:constr type="h" refType="userT" op="lte"/>
                  <dgm:constr type="tMarg" refType="primFontSz" fact="0.8"/>
                  <dgm:constr type="bMarg" refType="tMarg"/>
                  <dgm:constr type="lMarg"/>
                  <dgm:constr type="rMarg"/>
                </dgm:constrLst>
              </dgm:if>
              <dgm:else name="Name10">
                <dgm:constrLst>
                  <dgm:constr type="userT"/>
                  <dgm:constr type="h" refType="userT" op="lte"/>
                  <dgm:constr type="tMarg" refType="primFontSz" fact="0.8"/>
                  <dgm:constr type="bMarg" refType="tMarg"/>
                  <dgm:constr type="lMarg"/>
                  <dgm:constr type="rMarg"/>
                </dgm:constrLst>
              </dgm:else>
            </dgm:choose>
            <dgm:ruleLst>
              <dgm:rule type="h" val="INF" fact="NaN" max="NaN"/>
            </dgm:ruleLst>
          </dgm:layoutNode>
          <dgm:layoutNode name="spVertical2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  <dgm:layoutNode name="spVertical3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  <dgm:choose name="Name11">
            <dgm:if name="Name12" axis="ch" ptType="node" func="cnt" op="gte" val="1">
              <dgm:layoutNode name="desTx" styleLbl="revTx">
                <dgm:varLst>
                  <dgm:bulletEnabled val="1"/>
                </dgm:varLst>
                <dgm:alg type="tx">
                  <dgm:param type="stBulletLvl" val="1"/>
                </dgm:alg>
                <dgm:shape xmlns:r="http://schemas.openxmlformats.org/officeDocument/2006/relationships" type="rect" r:blip="">
                  <dgm:adjLst/>
                </dgm:shape>
                <dgm:presOf axis="des" ptType="node"/>
                <dgm:constrLst>
                  <dgm:constr type="tMarg"/>
                  <dgm:constr type="bMarg"/>
                  <dgm:constr type="rMarg"/>
                  <dgm:constr type="lMarg"/>
                </dgm:constrLst>
                <dgm:ruleLst>
                  <dgm:rule type="h" val="INF" fact="NaN" max="NaN"/>
                </dgm:ruleLst>
              </dgm:layoutNode>
            </dgm:if>
            <dgm:else name="Name13"/>
          </dgm:choose>
        </dgm:layoutNode>
        <dgm:forEach name="Name14" axis="followSib" ptType="sibTrans" cnt="1">
          <dgm:layoutNode name="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  <dgm:layoutNode name="padding2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negArrow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backgroundArrow" styleLbl="node1">
        <dgm:alg type="sp"/>
        <dgm:choose name="Name15">
          <dgm:if name="Name16" func="var" arg="dir" op="equ" val="norm">
            <dgm:shape xmlns:r="http://schemas.openxmlformats.org/officeDocument/2006/relationships" type="rightArrow" r:blip="">
              <dgm:adjLst/>
            </dgm:shape>
          </dgm:if>
          <dgm:else name="Name17">
            <dgm:shape xmlns:r="http://schemas.openxmlformats.org/officeDocument/2006/relationships" type="leftArrow" r:blip="">
              <dgm:adjLst/>
            </dgm:shape>
          </dgm:else>
        </dgm:choose>
        <dgm:presOf/>
        <dgm:constrLst/>
        <dgm:ruleLst/>
      </dgm:layoutNode>
    </dgm:layoutNode>
  </dgm:layoutNode>
</dgm:layoutDef>
</file>

<file path=ppt/diagrams/layout3.xml><?xml version="1.0" encoding="utf-8"?>
<dgm:layoutDef xmlns:dgm="http://schemas.openxmlformats.org/drawingml/2006/diagram" xmlns:a="http://schemas.openxmlformats.org/drawingml/2006/main" uniqueId="urn:microsoft.com/office/officeart/2005/8/layout/hProcess3">
  <dgm:title val=""/>
  <dgm:desc val=""/>
  <dgm:catLst>
    <dgm:cat type="process" pri="6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 chOrder="t">
    <dgm:varLst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dummy" refType="w"/>
      <dgm:constr type="h" for="ch" forName="dummy" refType="h"/>
      <dgm:constr type="h" for="ch" forName="dummy" refType="w" refFor="ch" refForName="dummy" op="lte" fact="0.4"/>
      <dgm:constr type="ctrX" for="ch" forName="dummy" refType="w" fact="0.5"/>
      <dgm:constr type="ctrY" for="ch" forName="dummy" refType="h" fact="0.5"/>
      <dgm:constr type="w" for="ch" forName="linH" refType="w"/>
      <dgm:constr type="h" for="ch" forName="linH" refType="h"/>
      <dgm:constr type="ctrX" for="ch" forName="linH" refType="w" fact="0.5"/>
      <dgm:constr type="ctrY" for="ch" forName="linH" refType="h" fact="0.5"/>
      <dgm:constr type="userP" for="ch" forName="linH" refType="h" refFor="ch" refForName="dummy" fact="0.25"/>
      <dgm:constr type="userT" for="des" forName="parTx" refType="w" refFor="ch" refForName="dummy" fact="0.2"/>
    </dgm:constrLst>
    <dgm:ruleLst/>
    <dgm:layoutNode name="dummy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linH">
      <dgm:choose name="Name1">
        <dgm:if name="Name2" func="var" arg="dir" op="equ" val="norm">
          <dgm:alg type="lin">
            <dgm:param type="linDir" val="fromL"/>
            <dgm:param type="nodeVertAlign" val="t"/>
          </dgm:alg>
        </dgm:if>
        <dgm:else name="Name3">
          <dgm:alg type="lin">
            <dgm:param type="linDir" val="fromR"/>
            <dgm:param type="nodeVertAlign" val="t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primFontSz" for="des" forName="parTx" val="65"/>
        <dgm:constr type="primFontSz" for="des" forName="desTx" refType="primFontSz" refFor="des" refForName="parTx" op="equ"/>
        <dgm:constr type="h" for="des" forName="parTx" refType="primFontSz" refFor="des" refForName="parTx"/>
        <dgm:constr type="h" for="des" forName="desTx" refType="primFontSz" refFor="des" refForName="parTx" fact="0.5"/>
        <dgm:constr type="h" for="des" forName="parTx" op="equ"/>
        <dgm:constr type="h" for="des" forName="desTx" op="equ"/>
        <dgm:constr type="h" for="ch" forName="backgroundArrow" refType="primFontSz" refFor="des" refForName="parTx" fact="2"/>
        <dgm:constr type="h" for="ch" forName="backgroundArrow" refType="h" refFor="des" refForName="parTx" op="lte" fact="2"/>
        <dgm:constr type="h" for="ch" forName="backgroundArrow" refType="h" refFor="des" refForName="parTx" op="gte" fact="2"/>
        <dgm:constr type="h" for="des" forName="spVertical1" refType="primFontSz" refFor="des" refForName="parTx" fact="0.5"/>
        <dgm:constr type="h" for="des" forName="spVertical1" refType="h" refFor="des" refForName="parTx" op="lte" fact="0.5"/>
        <dgm:constr type="h" for="des" forName="spVertical1" refType="h" refFor="des" refForName="parTx" op="gte" fact="0.5"/>
        <dgm:constr type="h" for="des" forName="spVertical2" refType="primFontSz" refFor="des" refForName="parTx" fact="0.5"/>
        <dgm:constr type="h" for="des" forName="spVertical2" refType="h" refFor="des" refForName="parTx" op="lte" fact="0.5"/>
        <dgm:constr type="h" for="des" forName="spVertical2" refType="h" refFor="des" refForName="parTx" op="gte" fact="0.5"/>
        <dgm:constr type="h" for="des" forName="spVertical3" refType="primFontSz" refFor="des" refForName="parTx" fact="-0.4"/>
        <dgm:constr type="h" for="des" forName="spVertical3" refType="h" refFor="des" refForName="parTx" op="lte" fact="-0.4"/>
        <dgm:constr type="h" for="des" forName="spVertical3" refType="h" refFor="des" refForName="parTx" op="gte" fact="-0.4"/>
        <dgm:constr type="w" for="ch" forName="backgroundArrow" refType="w"/>
        <dgm:constr type="w" for="ch" forName="negArrow" refType="w" fact="-1"/>
        <dgm:constr type="w" for="ch" forName="linV" refType="w"/>
        <dgm:constr type="w" for="ch" forName="space" refType="w" refFor="ch" refForName="linV" fact="0.2"/>
        <dgm:constr type="w" for="ch" forName="padding1" refType="w" fact="0.08"/>
        <dgm:constr type="userP"/>
        <dgm:constr type="w" for="ch" forName="padding2" refType="userP"/>
      </dgm:constrLst>
      <dgm:ruleLst>
        <dgm:rule type="w" for="ch" forName="linV" val="0" fact="NaN" max="NaN"/>
        <dgm:rule type="primFontSz" for="des" forName="parTx" val="5" fact="NaN" max="NaN"/>
      </dgm:ruleLst>
      <dgm:layoutNode name="padding1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forEach name="Name4" axis="ch" ptType="node">
        <dgm:layoutNode name="linV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spVertical1" refType="w"/>
            <dgm:constr type="w" for="ch" forName="parTx" refType="w"/>
            <dgm:constr type="w" for="ch" forName="spVertical2" refType="w"/>
            <dgm:constr type="w" for="ch" forName="spVertical3" refType="w"/>
            <dgm:constr type="w" for="ch" forName="desTx" refType="w"/>
          </dgm:constrLst>
          <dgm:ruleLst/>
          <dgm:layoutNode name="spVertical1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  <dgm:layoutNode name="parTx" styleLbl="revTx">
            <dgm:varLst>
              <dgm:chMax val="0"/>
              <dgm:chPref val="0"/>
              <dgm:bulletEnabled val="1"/>
            </dgm:varLst>
            <dgm:choose name="Name5">
              <dgm:if name="Name6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7">
                <dgm:alg type="tx">
                  <dgm:param type="parTxLTRAlign" val="ctr"/>
                  <dgm:param type="parTxRTLAlign" val="ct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self" ptType="node"/>
            <dgm:choose name="Name8">
              <dgm:if name="Name9" func="var" arg="dir" op="equ" val="norm">
                <dgm:constrLst>
                  <dgm:constr type="userT"/>
                  <dgm:constr type="h" refType="userT" op="lte"/>
                  <dgm:constr type="tMarg" refType="primFontSz" fact="0.8"/>
                  <dgm:constr type="bMarg" refType="tMarg"/>
                  <dgm:constr type="lMarg"/>
                  <dgm:constr type="rMarg"/>
                </dgm:constrLst>
              </dgm:if>
              <dgm:else name="Name10">
                <dgm:constrLst>
                  <dgm:constr type="userT"/>
                  <dgm:constr type="h" refType="userT" op="lte"/>
                  <dgm:constr type="tMarg" refType="primFontSz" fact="0.8"/>
                  <dgm:constr type="bMarg" refType="tMarg"/>
                  <dgm:constr type="lMarg"/>
                  <dgm:constr type="rMarg"/>
                </dgm:constrLst>
              </dgm:else>
            </dgm:choose>
            <dgm:ruleLst>
              <dgm:rule type="h" val="INF" fact="NaN" max="NaN"/>
            </dgm:ruleLst>
          </dgm:layoutNode>
          <dgm:layoutNode name="spVertical2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  <dgm:layoutNode name="spVertical3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  <dgm:choose name="Name11">
            <dgm:if name="Name12" axis="ch" ptType="node" func="cnt" op="gte" val="1">
              <dgm:layoutNode name="desTx" styleLbl="revTx">
                <dgm:varLst>
                  <dgm:bulletEnabled val="1"/>
                </dgm:varLst>
                <dgm:alg type="tx">
                  <dgm:param type="stBulletLvl" val="1"/>
                </dgm:alg>
                <dgm:shape xmlns:r="http://schemas.openxmlformats.org/officeDocument/2006/relationships" type="rect" r:blip="">
                  <dgm:adjLst/>
                </dgm:shape>
                <dgm:presOf axis="des" ptType="node"/>
                <dgm:constrLst>
                  <dgm:constr type="tMarg"/>
                  <dgm:constr type="bMarg"/>
                  <dgm:constr type="rMarg"/>
                  <dgm:constr type="lMarg"/>
                </dgm:constrLst>
                <dgm:ruleLst>
                  <dgm:rule type="h" val="INF" fact="NaN" max="NaN"/>
                </dgm:ruleLst>
              </dgm:layoutNode>
            </dgm:if>
            <dgm:else name="Name13"/>
          </dgm:choose>
        </dgm:layoutNode>
        <dgm:forEach name="Name14" axis="followSib" ptType="sibTrans" cnt="1">
          <dgm:layoutNode name="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  <dgm:layoutNode name="padding2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negArrow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backgroundArrow" styleLbl="node1">
        <dgm:alg type="sp"/>
        <dgm:choose name="Name15">
          <dgm:if name="Name16" func="var" arg="dir" op="equ" val="norm">
            <dgm:shape xmlns:r="http://schemas.openxmlformats.org/officeDocument/2006/relationships" type="rightArrow" r:blip="">
              <dgm:adjLst/>
            </dgm:shape>
          </dgm:if>
          <dgm:else name="Name17">
            <dgm:shape xmlns:r="http://schemas.openxmlformats.org/officeDocument/2006/relationships" type="leftArrow" r:blip="">
              <dgm:adjLst/>
            </dgm:shape>
          </dgm:else>
        </dgm:choose>
        <dgm:presOf/>
        <dgm:constrLst/>
        <dgm:ruleLst/>
      </dgm:layoutNode>
    </dgm:layoutNode>
  </dgm:layoutNode>
</dgm:layoutDef>
</file>

<file path=ppt/diagrams/layout4.xml><?xml version="1.0" encoding="utf-8"?>
<dgm:layoutDef xmlns:dgm="http://schemas.openxmlformats.org/drawingml/2006/diagram" xmlns:a="http://schemas.openxmlformats.org/drawingml/2006/main" uniqueId="urn:microsoft.com/office/officeart/2005/8/layout/hProcess3">
  <dgm:title val=""/>
  <dgm:desc val=""/>
  <dgm:catLst>
    <dgm:cat type="process" pri="6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 chOrder="t">
    <dgm:varLst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dummy" refType="w"/>
      <dgm:constr type="h" for="ch" forName="dummy" refType="h"/>
      <dgm:constr type="h" for="ch" forName="dummy" refType="w" refFor="ch" refForName="dummy" op="lte" fact="0.4"/>
      <dgm:constr type="ctrX" for="ch" forName="dummy" refType="w" fact="0.5"/>
      <dgm:constr type="ctrY" for="ch" forName="dummy" refType="h" fact="0.5"/>
      <dgm:constr type="w" for="ch" forName="linH" refType="w"/>
      <dgm:constr type="h" for="ch" forName="linH" refType="h"/>
      <dgm:constr type="ctrX" for="ch" forName="linH" refType="w" fact="0.5"/>
      <dgm:constr type="ctrY" for="ch" forName="linH" refType="h" fact="0.5"/>
      <dgm:constr type="userP" for="ch" forName="linH" refType="h" refFor="ch" refForName="dummy" fact="0.25"/>
      <dgm:constr type="userT" for="des" forName="parTx" refType="w" refFor="ch" refForName="dummy" fact="0.2"/>
    </dgm:constrLst>
    <dgm:ruleLst/>
    <dgm:layoutNode name="dummy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linH">
      <dgm:choose name="Name1">
        <dgm:if name="Name2" func="var" arg="dir" op="equ" val="norm">
          <dgm:alg type="lin">
            <dgm:param type="linDir" val="fromL"/>
            <dgm:param type="nodeVertAlign" val="t"/>
          </dgm:alg>
        </dgm:if>
        <dgm:else name="Name3">
          <dgm:alg type="lin">
            <dgm:param type="linDir" val="fromR"/>
            <dgm:param type="nodeVertAlign" val="t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primFontSz" for="des" forName="parTx" val="65"/>
        <dgm:constr type="primFontSz" for="des" forName="desTx" refType="primFontSz" refFor="des" refForName="parTx" op="equ"/>
        <dgm:constr type="h" for="des" forName="parTx" refType="primFontSz" refFor="des" refForName="parTx"/>
        <dgm:constr type="h" for="des" forName="desTx" refType="primFontSz" refFor="des" refForName="parTx" fact="0.5"/>
        <dgm:constr type="h" for="des" forName="parTx" op="equ"/>
        <dgm:constr type="h" for="des" forName="desTx" op="equ"/>
        <dgm:constr type="h" for="ch" forName="backgroundArrow" refType="primFontSz" refFor="des" refForName="parTx" fact="2"/>
        <dgm:constr type="h" for="ch" forName="backgroundArrow" refType="h" refFor="des" refForName="parTx" op="lte" fact="2"/>
        <dgm:constr type="h" for="ch" forName="backgroundArrow" refType="h" refFor="des" refForName="parTx" op="gte" fact="2"/>
        <dgm:constr type="h" for="des" forName="spVertical1" refType="primFontSz" refFor="des" refForName="parTx" fact="0.5"/>
        <dgm:constr type="h" for="des" forName="spVertical1" refType="h" refFor="des" refForName="parTx" op="lte" fact="0.5"/>
        <dgm:constr type="h" for="des" forName="spVertical1" refType="h" refFor="des" refForName="parTx" op="gte" fact="0.5"/>
        <dgm:constr type="h" for="des" forName="spVertical2" refType="primFontSz" refFor="des" refForName="parTx" fact="0.5"/>
        <dgm:constr type="h" for="des" forName="spVertical2" refType="h" refFor="des" refForName="parTx" op="lte" fact="0.5"/>
        <dgm:constr type="h" for="des" forName="spVertical2" refType="h" refFor="des" refForName="parTx" op="gte" fact="0.5"/>
        <dgm:constr type="h" for="des" forName="spVertical3" refType="primFontSz" refFor="des" refForName="parTx" fact="-0.4"/>
        <dgm:constr type="h" for="des" forName="spVertical3" refType="h" refFor="des" refForName="parTx" op="lte" fact="-0.4"/>
        <dgm:constr type="h" for="des" forName="spVertical3" refType="h" refFor="des" refForName="parTx" op="gte" fact="-0.4"/>
        <dgm:constr type="w" for="ch" forName="backgroundArrow" refType="w"/>
        <dgm:constr type="w" for="ch" forName="negArrow" refType="w" fact="-1"/>
        <dgm:constr type="w" for="ch" forName="linV" refType="w"/>
        <dgm:constr type="w" for="ch" forName="space" refType="w" refFor="ch" refForName="linV" fact="0.2"/>
        <dgm:constr type="w" for="ch" forName="padding1" refType="w" fact="0.08"/>
        <dgm:constr type="userP"/>
        <dgm:constr type="w" for="ch" forName="padding2" refType="userP"/>
      </dgm:constrLst>
      <dgm:ruleLst>
        <dgm:rule type="w" for="ch" forName="linV" val="0" fact="NaN" max="NaN"/>
        <dgm:rule type="primFontSz" for="des" forName="parTx" val="5" fact="NaN" max="NaN"/>
      </dgm:ruleLst>
      <dgm:layoutNode name="padding1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forEach name="Name4" axis="ch" ptType="node">
        <dgm:layoutNode name="linV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spVertical1" refType="w"/>
            <dgm:constr type="w" for="ch" forName="parTx" refType="w"/>
            <dgm:constr type="w" for="ch" forName="spVertical2" refType="w"/>
            <dgm:constr type="w" for="ch" forName="spVertical3" refType="w"/>
            <dgm:constr type="w" for="ch" forName="desTx" refType="w"/>
          </dgm:constrLst>
          <dgm:ruleLst/>
          <dgm:layoutNode name="spVertical1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  <dgm:layoutNode name="parTx" styleLbl="revTx">
            <dgm:varLst>
              <dgm:chMax val="0"/>
              <dgm:chPref val="0"/>
              <dgm:bulletEnabled val="1"/>
            </dgm:varLst>
            <dgm:choose name="Name5">
              <dgm:if name="Name6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7">
                <dgm:alg type="tx">
                  <dgm:param type="parTxLTRAlign" val="ctr"/>
                  <dgm:param type="parTxRTLAlign" val="ct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self" ptType="node"/>
            <dgm:choose name="Name8">
              <dgm:if name="Name9" func="var" arg="dir" op="equ" val="norm">
                <dgm:constrLst>
                  <dgm:constr type="userT"/>
                  <dgm:constr type="h" refType="userT" op="lte"/>
                  <dgm:constr type="tMarg" refType="primFontSz" fact="0.8"/>
                  <dgm:constr type="bMarg" refType="tMarg"/>
                  <dgm:constr type="lMarg"/>
                  <dgm:constr type="rMarg"/>
                </dgm:constrLst>
              </dgm:if>
              <dgm:else name="Name10">
                <dgm:constrLst>
                  <dgm:constr type="userT"/>
                  <dgm:constr type="h" refType="userT" op="lte"/>
                  <dgm:constr type="tMarg" refType="primFontSz" fact="0.8"/>
                  <dgm:constr type="bMarg" refType="tMarg"/>
                  <dgm:constr type="lMarg"/>
                  <dgm:constr type="rMarg"/>
                </dgm:constrLst>
              </dgm:else>
            </dgm:choose>
            <dgm:ruleLst>
              <dgm:rule type="h" val="INF" fact="NaN" max="NaN"/>
            </dgm:ruleLst>
          </dgm:layoutNode>
          <dgm:layoutNode name="spVertical2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  <dgm:layoutNode name="spVertical3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  <dgm:choose name="Name11">
            <dgm:if name="Name12" axis="ch" ptType="node" func="cnt" op="gte" val="1">
              <dgm:layoutNode name="desTx" styleLbl="revTx">
                <dgm:varLst>
                  <dgm:bulletEnabled val="1"/>
                </dgm:varLst>
                <dgm:alg type="tx">
                  <dgm:param type="stBulletLvl" val="1"/>
                </dgm:alg>
                <dgm:shape xmlns:r="http://schemas.openxmlformats.org/officeDocument/2006/relationships" type="rect" r:blip="">
                  <dgm:adjLst/>
                </dgm:shape>
                <dgm:presOf axis="des" ptType="node"/>
                <dgm:constrLst>
                  <dgm:constr type="tMarg"/>
                  <dgm:constr type="bMarg"/>
                  <dgm:constr type="rMarg"/>
                  <dgm:constr type="lMarg"/>
                </dgm:constrLst>
                <dgm:ruleLst>
                  <dgm:rule type="h" val="INF" fact="NaN" max="NaN"/>
                </dgm:ruleLst>
              </dgm:layoutNode>
            </dgm:if>
            <dgm:else name="Name13"/>
          </dgm:choose>
        </dgm:layoutNode>
        <dgm:forEach name="Name14" axis="followSib" ptType="sibTrans" cnt="1">
          <dgm:layoutNode name="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  <dgm:layoutNode name="padding2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negArrow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backgroundArrow" styleLbl="node1">
        <dgm:alg type="sp"/>
        <dgm:choose name="Name15">
          <dgm:if name="Name16" func="var" arg="dir" op="equ" val="norm">
            <dgm:shape xmlns:r="http://schemas.openxmlformats.org/officeDocument/2006/relationships" type="rightArrow" r:blip="">
              <dgm:adjLst/>
            </dgm:shape>
          </dgm:if>
          <dgm:else name="Name17">
            <dgm:shape xmlns:r="http://schemas.openxmlformats.org/officeDocument/2006/relationships" type="leftArrow" r:blip="">
              <dgm:adjLst/>
            </dgm:shape>
          </dgm:else>
        </dgm:choose>
        <dgm:presOf/>
        <dgm:constrLst/>
        <dgm:ruleLst/>
      </dgm:layoutNode>
    </dgm:layoutNode>
  </dgm:layoutNode>
</dgm:layoutDef>
</file>

<file path=ppt/diagrams/layout5.xml><?xml version="1.0" encoding="utf-8"?>
<dgm:layoutDef xmlns:dgm="http://schemas.openxmlformats.org/drawingml/2006/diagram" xmlns:a="http://schemas.openxmlformats.org/drawingml/2006/main" uniqueId="urn:microsoft.com/office/officeart/2005/8/layout/hProcess3">
  <dgm:title val=""/>
  <dgm:desc val=""/>
  <dgm:catLst>
    <dgm:cat type="process" pri="6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 chOrder="t">
    <dgm:varLst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dummy" refType="w"/>
      <dgm:constr type="h" for="ch" forName="dummy" refType="h"/>
      <dgm:constr type="h" for="ch" forName="dummy" refType="w" refFor="ch" refForName="dummy" op="lte" fact="0.4"/>
      <dgm:constr type="ctrX" for="ch" forName="dummy" refType="w" fact="0.5"/>
      <dgm:constr type="ctrY" for="ch" forName="dummy" refType="h" fact="0.5"/>
      <dgm:constr type="w" for="ch" forName="linH" refType="w"/>
      <dgm:constr type="h" for="ch" forName="linH" refType="h"/>
      <dgm:constr type="ctrX" for="ch" forName="linH" refType="w" fact="0.5"/>
      <dgm:constr type="ctrY" for="ch" forName="linH" refType="h" fact="0.5"/>
      <dgm:constr type="userP" for="ch" forName="linH" refType="h" refFor="ch" refForName="dummy" fact="0.25"/>
      <dgm:constr type="userT" for="des" forName="parTx" refType="w" refFor="ch" refForName="dummy" fact="0.2"/>
    </dgm:constrLst>
    <dgm:ruleLst/>
    <dgm:layoutNode name="dummy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linH">
      <dgm:choose name="Name1">
        <dgm:if name="Name2" func="var" arg="dir" op="equ" val="norm">
          <dgm:alg type="lin">
            <dgm:param type="linDir" val="fromL"/>
            <dgm:param type="nodeVertAlign" val="t"/>
          </dgm:alg>
        </dgm:if>
        <dgm:else name="Name3">
          <dgm:alg type="lin">
            <dgm:param type="linDir" val="fromR"/>
            <dgm:param type="nodeVertAlign" val="t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primFontSz" for="des" forName="parTx" val="65"/>
        <dgm:constr type="primFontSz" for="des" forName="desTx" refType="primFontSz" refFor="des" refForName="parTx" op="equ"/>
        <dgm:constr type="h" for="des" forName="parTx" refType="primFontSz" refFor="des" refForName="parTx"/>
        <dgm:constr type="h" for="des" forName="desTx" refType="primFontSz" refFor="des" refForName="parTx" fact="0.5"/>
        <dgm:constr type="h" for="des" forName="parTx" op="equ"/>
        <dgm:constr type="h" for="des" forName="desTx" op="equ"/>
        <dgm:constr type="h" for="ch" forName="backgroundArrow" refType="primFontSz" refFor="des" refForName="parTx" fact="2"/>
        <dgm:constr type="h" for="ch" forName="backgroundArrow" refType="h" refFor="des" refForName="parTx" op="lte" fact="2"/>
        <dgm:constr type="h" for="ch" forName="backgroundArrow" refType="h" refFor="des" refForName="parTx" op="gte" fact="2"/>
        <dgm:constr type="h" for="des" forName="spVertical1" refType="primFontSz" refFor="des" refForName="parTx" fact="0.5"/>
        <dgm:constr type="h" for="des" forName="spVertical1" refType="h" refFor="des" refForName="parTx" op="lte" fact="0.5"/>
        <dgm:constr type="h" for="des" forName="spVertical1" refType="h" refFor="des" refForName="parTx" op="gte" fact="0.5"/>
        <dgm:constr type="h" for="des" forName="spVertical2" refType="primFontSz" refFor="des" refForName="parTx" fact="0.5"/>
        <dgm:constr type="h" for="des" forName="spVertical2" refType="h" refFor="des" refForName="parTx" op="lte" fact="0.5"/>
        <dgm:constr type="h" for="des" forName="spVertical2" refType="h" refFor="des" refForName="parTx" op="gte" fact="0.5"/>
        <dgm:constr type="h" for="des" forName="spVertical3" refType="primFontSz" refFor="des" refForName="parTx" fact="-0.4"/>
        <dgm:constr type="h" for="des" forName="spVertical3" refType="h" refFor="des" refForName="parTx" op="lte" fact="-0.4"/>
        <dgm:constr type="h" for="des" forName="spVertical3" refType="h" refFor="des" refForName="parTx" op="gte" fact="-0.4"/>
        <dgm:constr type="w" for="ch" forName="backgroundArrow" refType="w"/>
        <dgm:constr type="w" for="ch" forName="negArrow" refType="w" fact="-1"/>
        <dgm:constr type="w" for="ch" forName="linV" refType="w"/>
        <dgm:constr type="w" for="ch" forName="space" refType="w" refFor="ch" refForName="linV" fact="0.2"/>
        <dgm:constr type="w" for="ch" forName="padding1" refType="w" fact="0.08"/>
        <dgm:constr type="userP"/>
        <dgm:constr type="w" for="ch" forName="padding2" refType="userP"/>
      </dgm:constrLst>
      <dgm:ruleLst>
        <dgm:rule type="w" for="ch" forName="linV" val="0" fact="NaN" max="NaN"/>
        <dgm:rule type="primFontSz" for="des" forName="parTx" val="5" fact="NaN" max="NaN"/>
      </dgm:ruleLst>
      <dgm:layoutNode name="padding1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forEach name="Name4" axis="ch" ptType="node">
        <dgm:layoutNode name="linV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spVertical1" refType="w"/>
            <dgm:constr type="w" for="ch" forName="parTx" refType="w"/>
            <dgm:constr type="w" for="ch" forName="spVertical2" refType="w"/>
            <dgm:constr type="w" for="ch" forName="spVertical3" refType="w"/>
            <dgm:constr type="w" for="ch" forName="desTx" refType="w"/>
          </dgm:constrLst>
          <dgm:ruleLst/>
          <dgm:layoutNode name="spVertical1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  <dgm:layoutNode name="parTx" styleLbl="revTx">
            <dgm:varLst>
              <dgm:chMax val="0"/>
              <dgm:chPref val="0"/>
              <dgm:bulletEnabled val="1"/>
            </dgm:varLst>
            <dgm:choose name="Name5">
              <dgm:if name="Name6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7">
                <dgm:alg type="tx">
                  <dgm:param type="parTxLTRAlign" val="ctr"/>
                  <dgm:param type="parTxRTLAlign" val="ct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self" ptType="node"/>
            <dgm:choose name="Name8">
              <dgm:if name="Name9" func="var" arg="dir" op="equ" val="norm">
                <dgm:constrLst>
                  <dgm:constr type="userT"/>
                  <dgm:constr type="h" refType="userT" op="lte"/>
                  <dgm:constr type="tMarg" refType="primFontSz" fact="0.8"/>
                  <dgm:constr type="bMarg" refType="tMarg"/>
                  <dgm:constr type="lMarg"/>
                  <dgm:constr type="rMarg"/>
                </dgm:constrLst>
              </dgm:if>
              <dgm:else name="Name10">
                <dgm:constrLst>
                  <dgm:constr type="userT"/>
                  <dgm:constr type="h" refType="userT" op="lte"/>
                  <dgm:constr type="tMarg" refType="primFontSz" fact="0.8"/>
                  <dgm:constr type="bMarg" refType="tMarg"/>
                  <dgm:constr type="lMarg"/>
                  <dgm:constr type="rMarg"/>
                </dgm:constrLst>
              </dgm:else>
            </dgm:choose>
            <dgm:ruleLst>
              <dgm:rule type="h" val="INF" fact="NaN" max="NaN"/>
            </dgm:ruleLst>
          </dgm:layoutNode>
          <dgm:layoutNode name="spVertical2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  <dgm:layoutNode name="spVertical3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  <dgm:choose name="Name11">
            <dgm:if name="Name12" axis="ch" ptType="node" func="cnt" op="gte" val="1">
              <dgm:layoutNode name="desTx" styleLbl="revTx">
                <dgm:varLst>
                  <dgm:bulletEnabled val="1"/>
                </dgm:varLst>
                <dgm:alg type="tx">
                  <dgm:param type="stBulletLvl" val="1"/>
                </dgm:alg>
                <dgm:shape xmlns:r="http://schemas.openxmlformats.org/officeDocument/2006/relationships" type="rect" r:blip="">
                  <dgm:adjLst/>
                </dgm:shape>
                <dgm:presOf axis="des" ptType="node"/>
                <dgm:constrLst>
                  <dgm:constr type="tMarg"/>
                  <dgm:constr type="bMarg"/>
                  <dgm:constr type="rMarg"/>
                  <dgm:constr type="lMarg"/>
                </dgm:constrLst>
                <dgm:ruleLst>
                  <dgm:rule type="h" val="INF" fact="NaN" max="NaN"/>
                </dgm:ruleLst>
              </dgm:layoutNode>
            </dgm:if>
            <dgm:else name="Name13"/>
          </dgm:choose>
        </dgm:layoutNode>
        <dgm:forEach name="Name14" axis="followSib" ptType="sibTrans" cnt="1">
          <dgm:layoutNode name="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  <dgm:layoutNode name="padding2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negArrow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backgroundArrow" styleLbl="node1">
        <dgm:alg type="sp"/>
        <dgm:choose name="Name15">
          <dgm:if name="Name16" func="var" arg="dir" op="equ" val="norm">
            <dgm:shape xmlns:r="http://schemas.openxmlformats.org/officeDocument/2006/relationships" type="rightArrow" r:blip="">
              <dgm:adjLst/>
            </dgm:shape>
          </dgm:if>
          <dgm:else name="Name17">
            <dgm:shape xmlns:r="http://schemas.openxmlformats.org/officeDocument/2006/relationships" type="leftArrow" r:blip="">
              <dgm:adjLst/>
            </dgm:shape>
          </dgm:else>
        </dgm:choose>
        <dgm:presOf/>
        <dgm:constrLst/>
        <dgm:ruleLst/>
      </dgm:layoutNode>
    </dgm:layoutNode>
  </dgm:layoutNode>
</dgm:layoutDef>
</file>

<file path=ppt/diagrams/layout6.xml><?xml version="1.0" encoding="utf-8"?>
<dgm:layoutDef xmlns:dgm="http://schemas.openxmlformats.org/drawingml/2006/diagram" xmlns:a="http://schemas.openxmlformats.org/drawingml/2006/main" uniqueId="urn:microsoft.com/office/officeart/2005/8/layout/hProcess3">
  <dgm:title val=""/>
  <dgm:desc val=""/>
  <dgm:catLst>
    <dgm:cat type="process" pri="6000"/>
  </dgm:catLst>
  <dgm:sampData useDef="1">
    <dgm:dataModel>
      <dgm:ptLst/>
      <dgm:bg/>
      <dgm:whole/>
    </dgm:dataModel>
  </dgm:sampData>
  <dgm:styleData>
    <dgm:dataModel>
      <dgm:ptLst>
        <dgm:pt modelId="0" type="doc"/>
        <dgm:pt modelId="1"/>
        <dgm:pt modelId="2"/>
      </dgm:ptLst>
      <dgm:cxnLst>
        <dgm:cxn modelId="3" srcId="0" destId="1" srcOrd="0" destOrd="0"/>
        <dgm:cxn modelId="4" srcId="0" destId="2" srcOrd="1" destOrd="0"/>
      </dgm:cxnLst>
      <dgm:bg/>
      <dgm:whole/>
    </dgm:dataModel>
  </dgm:styleData>
  <dgm:clrData>
    <dgm:dataModel>
      <dgm:ptLst>
        <dgm:pt modelId="0" type="doc"/>
        <dgm:pt modelId="1"/>
        <dgm:pt modelId="2"/>
        <dgm:pt modelId="3"/>
        <dgm:pt modelId="4"/>
      </dgm:ptLst>
      <dgm:cxnLst>
        <dgm:cxn modelId="5" srcId="0" destId="1" srcOrd="0" destOrd="0"/>
        <dgm:cxn modelId="6" srcId="0" destId="2" srcOrd="1" destOrd="0"/>
        <dgm:cxn modelId="7" srcId="0" destId="3" srcOrd="2" destOrd="0"/>
        <dgm:cxn modelId="8" srcId="0" destId="4" srcOrd="3" destOrd="0"/>
      </dgm:cxnLst>
      <dgm:bg/>
      <dgm:whole/>
    </dgm:dataModel>
  </dgm:clrData>
  <dgm:layoutNode name="Name0" chOrder="t">
    <dgm:varLst>
      <dgm:dir/>
      <dgm:animLvl val="lvl"/>
      <dgm:resizeHandles val="exact"/>
    </dgm:varLst>
    <dgm:alg type="composite"/>
    <dgm:shape xmlns:r="http://schemas.openxmlformats.org/officeDocument/2006/relationships" r:blip="">
      <dgm:adjLst/>
    </dgm:shape>
    <dgm:presOf/>
    <dgm:constrLst>
      <dgm:constr type="w" for="ch" forName="dummy" refType="w"/>
      <dgm:constr type="h" for="ch" forName="dummy" refType="h"/>
      <dgm:constr type="h" for="ch" forName="dummy" refType="w" refFor="ch" refForName="dummy" op="lte" fact="0.4"/>
      <dgm:constr type="ctrX" for="ch" forName="dummy" refType="w" fact="0.5"/>
      <dgm:constr type="ctrY" for="ch" forName="dummy" refType="h" fact="0.5"/>
      <dgm:constr type="w" for="ch" forName="linH" refType="w"/>
      <dgm:constr type="h" for="ch" forName="linH" refType="h"/>
      <dgm:constr type="ctrX" for="ch" forName="linH" refType="w" fact="0.5"/>
      <dgm:constr type="ctrY" for="ch" forName="linH" refType="h" fact="0.5"/>
      <dgm:constr type="userP" for="ch" forName="linH" refType="h" refFor="ch" refForName="dummy" fact="0.25"/>
      <dgm:constr type="userT" for="des" forName="parTx" refType="w" refFor="ch" refForName="dummy" fact="0.2"/>
    </dgm:constrLst>
    <dgm:ruleLst/>
    <dgm:layoutNode name="dummy">
      <dgm:alg type="sp"/>
      <dgm:shape xmlns:r="http://schemas.openxmlformats.org/officeDocument/2006/relationships" r:blip="">
        <dgm:adjLst/>
      </dgm:shape>
      <dgm:presOf/>
      <dgm:constrLst/>
      <dgm:ruleLst/>
    </dgm:layoutNode>
    <dgm:layoutNode name="linH">
      <dgm:choose name="Name1">
        <dgm:if name="Name2" func="var" arg="dir" op="equ" val="norm">
          <dgm:alg type="lin">
            <dgm:param type="linDir" val="fromL"/>
            <dgm:param type="nodeVertAlign" val="t"/>
          </dgm:alg>
        </dgm:if>
        <dgm:else name="Name3">
          <dgm:alg type="lin">
            <dgm:param type="linDir" val="fromR"/>
            <dgm:param type="nodeVertAlign" val="t"/>
          </dgm:alg>
        </dgm:else>
      </dgm:choose>
      <dgm:shape xmlns:r="http://schemas.openxmlformats.org/officeDocument/2006/relationships" r:blip="">
        <dgm:adjLst/>
      </dgm:shape>
      <dgm:presOf/>
      <dgm:constrLst>
        <dgm:constr type="primFontSz" for="des" forName="parTx" val="65"/>
        <dgm:constr type="primFontSz" for="des" forName="desTx" refType="primFontSz" refFor="des" refForName="parTx" op="equ"/>
        <dgm:constr type="h" for="des" forName="parTx" refType="primFontSz" refFor="des" refForName="parTx"/>
        <dgm:constr type="h" for="des" forName="desTx" refType="primFontSz" refFor="des" refForName="parTx" fact="0.5"/>
        <dgm:constr type="h" for="des" forName="parTx" op="equ"/>
        <dgm:constr type="h" for="des" forName="desTx" op="equ"/>
        <dgm:constr type="h" for="ch" forName="backgroundArrow" refType="primFontSz" refFor="des" refForName="parTx" fact="2"/>
        <dgm:constr type="h" for="ch" forName="backgroundArrow" refType="h" refFor="des" refForName="parTx" op="lte" fact="2"/>
        <dgm:constr type="h" for="ch" forName="backgroundArrow" refType="h" refFor="des" refForName="parTx" op="gte" fact="2"/>
        <dgm:constr type="h" for="des" forName="spVertical1" refType="primFontSz" refFor="des" refForName="parTx" fact="0.5"/>
        <dgm:constr type="h" for="des" forName="spVertical1" refType="h" refFor="des" refForName="parTx" op="lte" fact="0.5"/>
        <dgm:constr type="h" for="des" forName="spVertical1" refType="h" refFor="des" refForName="parTx" op="gte" fact="0.5"/>
        <dgm:constr type="h" for="des" forName="spVertical2" refType="primFontSz" refFor="des" refForName="parTx" fact="0.5"/>
        <dgm:constr type="h" for="des" forName="spVertical2" refType="h" refFor="des" refForName="parTx" op="lte" fact="0.5"/>
        <dgm:constr type="h" for="des" forName="spVertical2" refType="h" refFor="des" refForName="parTx" op="gte" fact="0.5"/>
        <dgm:constr type="h" for="des" forName="spVertical3" refType="primFontSz" refFor="des" refForName="parTx" fact="-0.4"/>
        <dgm:constr type="h" for="des" forName="spVertical3" refType="h" refFor="des" refForName="parTx" op="lte" fact="-0.4"/>
        <dgm:constr type="h" for="des" forName="spVertical3" refType="h" refFor="des" refForName="parTx" op="gte" fact="-0.4"/>
        <dgm:constr type="w" for="ch" forName="backgroundArrow" refType="w"/>
        <dgm:constr type="w" for="ch" forName="negArrow" refType="w" fact="-1"/>
        <dgm:constr type="w" for="ch" forName="linV" refType="w"/>
        <dgm:constr type="w" for="ch" forName="space" refType="w" refFor="ch" refForName="linV" fact="0.2"/>
        <dgm:constr type="w" for="ch" forName="padding1" refType="w" fact="0.08"/>
        <dgm:constr type="userP"/>
        <dgm:constr type="w" for="ch" forName="padding2" refType="userP"/>
      </dgm:constrLst>
      <dgm:ruleLst>
        <dgm:rule type="w" for="ch" forName="linV" val="0" fact="NaN" max="NaN"/>
        <dgm:rule type="primFontSz" for="des" forName="parTx" val="5" fact="NaN" max="NaN"/>
      </dgm:ruleLst>
      <dgm:layoutNode name="padding1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forEach name="Name4" axis="ch" ptType="node">
        <dgm:layoutNode name="linV">
          <dgm:alg type="lin">
            <dgm:param type="linDir" val="fromT"/>
          </dgm:alg>
          <dgm:shape xmlns:r="http://schemas.openxmlformats.org/officeDocument/2006/relationships" r:blip="">
            <dgm:adjLst/>
          </dgm:shape>
          <dgm:presOf/>
          <dgm:constrLst>
            <dgm:constr type="w" for="ch" forName="spVertical1" refType="w"/>
            <dgm:constr type="w" for="ch" forName="parTx" refType="w"/>
            <dgm:constr type="w" for="ch" forName="spVertical2" refType="w"/>
            <dgm:constr type="w" for="ch" forName="spVertical3" refType="w"/>
            <dgm:constr type="w" for="ch" forName="desTx" refType="w"/>
          </dgm:constrLst>
          <dgm:ruleLst/>
          <dgm:layoutNode name="spVertical1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  <dgm:layoutNode name="parTx" styleLbl="revTx">
            <dgm:varLst>
              <dgm:chMax val="0"/>
              <dgm:chPref val="0"/>
              <dgm:bulletEnabled val="1"/>
            </dgm:varLst>
            <dgm:choose name="Name5">
              <dgm:if name="Name6" axis="root des" ptType="all node" func="maxDepth" op="gt" val="1">
                <dgm:alg type="tx">
                  <dgm:param type="parTxLTRAlign" val="l"/>
                  <dgm:param type="parTxRTLAlign" val="r"/>
                </dgm:alg>
              </dgm:if>
              <dgm:else name="Name7">
                <dgm:alg type="tx">
                  <dgm:param type="parTxLTRAlign" val="ctr"/>
                  <dgm:param type="parTxRTLAlign" val="ctr"/>
                </dgm:alg>
              </dgm:else>
            </dgm:choose>
            <dgm:shape xmlns:r="http://schemas.openxmlformats.org/officeDocument/2006/relationships" type="rect" r:blip="">
              <dgm:adjLst/>
            </dgm:shape>
            <dgm:presOf axis="self" ptType="node"/>
            <dgm:choose name="Name8">
              <dgm:if name="Name9" func="var" arg="dir" op="equ" val="norm">
                <dgm:constrLst>
                  <dgm:constr type="userT"/>
                  <dgm:constr type="h" refType="userT" op="lte"/>
                  <dgm:constr type="tMarg" refType="primFontSz" fact="0.8"/>
                  <dgm:constr type="bMarg" refType="tMarg"/>
                  <dgm:constr type="lMarg"/>
                  <dgm:constr type="rMarg"/>
                </dgm:constrLst>
              </dgm:if>
              <dgm:else name="Name10">
                <dgm:constrLst>
                  <dgm:constr type="userT"/>
                  <dgm:constr type="h" refType="userT" op="lte"/>
                  <dgm:constr type="tMarg" refType="primFontSz" fact="0.8"/>
                  <dgm:constr type="bMarg" refType="tMarg"/>
                  <dgm:constr type="lMarg"/>
                  <dgm:constr type="rMarg"/>
                </dgm:constrLst>
              </dgm:else>
            </dgm:choose>
            <dgm:ruleLst>
              <dgm:rule type="h" val="INF" fact="NaN" max="NaN"/>
            </dgm:ruleLst>
          </dgm:layoutNode>
          <dgm:layoutNode name="spVertical2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  <dgm:layoutNode name="spVertical3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  <dgm:choose name="Name11">
            <dgm:if name="Name12" axis="ch" ptType="node" func="cnt" op="gte" val="1">
              <dgm:layoutNode name="desTx" styleLbl="revTx">
                <dgm:varLst>
                  <dgm:bulletEnabled val="1"/>
                </dgm:varLst>
                <dgm:alg type="tx">
                  <dgm:param type="stBulletLvl" val="1"/>
                </dgm:alg>
                <dgm:shape xmlns:r="http://schemas.openxmlformats.org/officeDocument/2006/relationships" type="rect" r:blip="">
                  <dgm:adjLst/>
                </dgm:shape>
                <dgm:presOf axis="des" ptType="node"/>
                <dgm:constrLst>
                  <dgm:constr type="tMarg"/>
                  <dgm:constr type="bMarg"/>
                  <dgm:constr type="rMarg"/>
                  <dgm:constr type="lMarg"/>
                </dgm:constrLst>
                <dgm:ruleLst>
                  <dgm:rule type="h" val="INF" fact="NaN" max="NaN"/>
                </dgm:ruleLst>
              </dgm:layoutNode>
            </dgm:if>
            <dgm:else name="Name13"/>
          </dgm:choose>
        </dgm:layoutNode>
        <dgm:forEach name="Name14" axis="followSib" ptType="sibTrans" cnt="1">
          <dgm:layoutNode name="space">
            <dgm:alg type="sp"/>
            <dgm:shape xmlns:r="http://schemas.openxmlformats.org/officeDocument/2006/relationships" r:blip="">
              <dgm:adjLst/>
            </dgm:shape>
            <dgm:presOf/>
            <dgm:constrLst/>
            <dgm:ruleLst/>
          </dgm:layoutNode>
        </dgm:forEach>
      </dgm:forEach>
      <dgm:layoutNode name="padding2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negArrow">
        <dgm:alg type="sp"/>
        <dgm:shape xmlns:r="http://schemas.openxmlformats.org/officeDocument/2006/relationships" r:blip="">
          <dgm:adjLst/>
        </dgm:shape>
        <dgm:presOf/>
        <dgm:constrLst/>
        <dgm:ruleLst/>
      </dgm:layoutNode>
      <dgm:layoutNode name="backgroundArrow" styleLbl="node1">
        <dgm:alg type="sp"/>
        <dgm:choose name="Name15">
          <dgm:if name="Name16" func="var" arg="dir" op="equ" val="norm">
            <dgm:shape xmlns:r="http://schemas.openxmlformats.org/officeDocument/2006/relationships" type="rightArrow" r:blip="">
              <dgm:adjLst/>
            </dgm:shape>
          </dgm:if>
          <dgm:else name="Name17">
            <dgm:shape xmlns:r="http://schemas.openxmlformats.org/officeDocument/2006/relationships" type="leftArrow" r:blip="">
              <dgm:adjLst/>
            </dgm:shape>
          </dgm:else>
        </dgm:choose>
        <dgm:presOf/>
        <dgm:constrLst/>
        <dgm:ruleLst/>
      </dgm:layoutNode>
    </dgm:layoutNode>
  </dgm:layoutNode>
</dgm:layoutDef>
</file>

<file path=ppt/diagrams/quickStyle1.xml><?xml version="1.0" encoding="utf-8"?>
<dgm:styleDef xmlns:dgm="http://schemas.openxmlformats.org/drawingml/2006/diagram" xmlns:a="http://schemas.openxmlformats.org/drawingml/2006/main" uniqueId="urn:microsoft.com/office/officeart/2005/8/quickstyle/3d2#15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2.xml><?xml version="1.0" encoding="utf-8"?>
<dgm:styleDef xmlns:dgm="http://schemas.openxmlformats.org/drawingml/2006/diagram" xmlns:a="http://schemas.openxmlformats.org/drawingml/2006/main" uniqueId="urn:microsoft.com/office/officeart/2005/8/quickstyle/3d2#16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3.xml><?xml version="1.0" encoding="utf-8"?>
<dgm:styleDef xmlns:dgm="http://schemas.openxmlformats.org/drawingml/2006/diagram" xmlns:a="http://schemas.openxmlformats.org/drawingml/2006/main" uniqueId="urn:microsoft.com/office/officeart/2005/8/quickstyle/3d2#17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4.xml><?xml version="1.0" encoding="utf-8"?>
<dgm:styleDef xmlns:dgm="http://schemas.openxmlformats.org/drawingml/2006/diagram" xmlns:a="http://schemas.openxmlformats.org/drawingml/2006/main" uniqueId="urn:microsoft.com/office/officeart/2005/8/quickstyle/3d2#18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5.xml><?xml version="1.0" encoding="utf-8"?>
<dgm:styleDef xmlns:dgm="http://schemas.openxmlformats.org/drawingml/2006/diagram" xmlns:a="http://schemas.openxmlformats.org/drawingml/2006/main" uniqueId="urn:microsoft.com/office/officeart/2005/8/quickstyle/3d2#19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diagrams/quickStyle6.xml><?xml version="1.0" encoding="utf-8"?>
<dgm:styleDef xmlns:dgm="http://schemas.openxmlformats.org/drawingml/2006/diagram" xmlns:a="http://schemas.openxmlformats.org/drawingml/2006/main" uniqueId="urn:microsoft.com/office/officeart/2005/8/quickstyle/3d2#20">
  <dgm:title val=""/>
  <dgm:desc val=""/>
  <dgm:catLst>
    <dgm:cat type="3D" pri="11200"/>
  </dgm:catLst>
  <dgm:scene3d>
    <a:camera prst="orthographicFront"/>
    <a:lightRig rig="threePt" dir="t"/>
  </dgm:scene3d>
  <dgm:styleLbl name="node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l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1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venn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tx1"/>
      </a:fontRef>
    </dgm:style>
  </dgm:styleLbl>
  <dgm:styleLbl name="aling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node4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ImgPlace1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ImgPlace1">
    <dgm:scene3d>
      <a:camera prst="orthographicFront"/>
      <a:lightRig rig="threePt" dir="t">
        <a:rot lat="0" lon="0" rev="7500000"/>
      </a:lightRig>
    </dgm:scene3d>
    <dgm:sp3d z="254000" extrusionH="63500" contourW="127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bgImgPlace1">
    <dgm:scene3d>
      <a:camera prst="orthographicFront"/>
      <a:lightRig rig="threePt" dir="t">
        <a:rot lat="0" lon="0" rev="7500000"/>
      </a:lightRig>
    </dgm:scene3d>
    <dgm:sp3d z="-152400" extrusionH="63500" contourW="127000" prstMaterial="matte">
      <a:contourClr>
        <a:schemeClr val="lt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ibTrans2D1">
    <dgm:scene3d>
      <a:camera prst="orthographicFront"/>
      <a:lightRig rig="threePt" dir="t">
        <a:rot lat="0" lon="0" rev="7500000"/>
      </a:lightRig>
    </dgm:scene3d>
    <dgm:sp3d z="-700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fgSibTrans2D1">
    <dgm:scene3d>
      <a:camera prst="orthographicFront"/>
      <a:lightRig rig="threePt" dir="t">
        <a:rot lat="0" lon="0" rev="7500000"/>
      </a:lightRig>
    </dgm:scene3d>
    <dgm:sp3d z="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SibTrans2D1">
    <dgm:scene3d>
      <a:camera prst="orthographicFront"/>
      <a:lightRig rig="threePt" dir="t">
        <a:rot lat="0" lon="0" rev="7500000"/>
      </a:lightRig>
    </dgm:scene3d>
    <dgm:sp3d z="-152400" extrusionH="63500" prstMaterial="matte">
      <a:bevelT w="25400" h="63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sib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1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callout">
    <dgm:scene3d>
      <a:camera prst="orthographicFront"/>
      <a:lightRig rig="threePt" dir="t">
        <a:rot lat="0" lon="0" rev="7500000"/>
      </a:lightRig>
    </dgm:scene3d>
    <dgm:sp3d z="127000" prstMaterial="matte"/>
    <dgm:txPr/>
    <dgm:style>
      <a:lnRef idx="2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sst0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1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2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asst3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</dgm:sp3d>
    <dgm:txPr/>
    <dgm:style>
      <a:lnRef idx="0">
        <a:scrgbClr r="0" g="0" b="0"/>
      </a:lnRef>
      <a:fillRef idx="3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1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parChTrans2D2">
    <dgm:scene3d>
      <a:camera prst="orthographicFront"/>
      <a:lightRig rig="threePt" dir="t">
        <a:rot lat="0" lon="0" rev="7500000"/>
      </a:lightRig>
    </dgm:scene3d>
    <dgm:sp3d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>
        <a:schemeClr val="lt1"/>
      </a:fontRef>
    </dgm:style>
  </dgm:styleLbl>
  <dgm:styleLbl name="parChTrans2D3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2D4">
    <dgm:scene3d>
      <a:camera prst="orthographicFront"/>
      <a:lightRig rig="threePt" dir="t">
        <a:rot lat="0" lon="0" rev="7500000"/>
      </a:lightRig>
    </dgm:scene3d>
    <dgm:sp3d z="60000" prstMaterial="flat">
      <a:bevelT w="120900" h="88900"/>
    </dgm:sp3d>
    <dgm:txPr/>
    <dgm:style>
      <a:lnRef idx="0">
        <a:scrgbClr r="0" g="0" b="0"/>
      </a:lnRef>
      <a:fillRef idx="3">
        <a:scrgbClr r="0" g="0" b="0"/>
      </a:fillRef>
      <a:effectRef idx="1">
        <a:scrgbClr r="0" g="0" b="0"/>
      </a:effectRef>
      <a:fontRef idx="minor">
        <a:schemeClr val="lt1"/>
      </a:fontRef>
    </dgm:style>
  </dgm:styleLbl>
  <dgm:styleLbl name="parChTrans1D1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2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3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parChTrans1D4">
    <dgm:scene3d>
      <a:camera prst="orthographicFront"/>
      <a:lightRig rig="threePt" dir="t">
        <a:rot lat="0" lon="0" rev="7500000"/>
      </a:lightRig>
    </dgm:scene3d>
    <dgm:sp3d z="-40000" prstMaterial="matte"/>
    <dgm:txPr/>
    <dgm:style>
      <a:lnRef idx="2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  <dgm:styleLbl name="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con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alignAcc1">
    <dgm:scene3d>
      <a:camera prst="orthographicFront"/>
      <a:lightRig rig="threePt" dir="t">
        <a:rot lat="0" lon="0" rev="7500000"/>
      </a:lightRig>
    </dgm:scene3d>
    <dgm:sp3d extrusionH="190500" prstMaterial="dkEdge">
      <a:bevelT w="13540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trAlignAcc1">
    <dgm:scene3d>
      <a:camera prst="orthographicFront"/>
      <a:lightRig rig="threePt" dir="t">
        <a:rot lat="0" lon="0" rev="7500000"/>
      </a:lightRig>
    </dgm:scene3d>
    <dgm:sp3d prstMaterial="plastic">
      <a:bevelT w="127000" h="35400"/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24450" h="1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solidFgAcc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0800" h="190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AlignAcc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solidBgAcc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AccFollowNode1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alignAccFollowNode1">
    <dgm:scene3d>
      <a:camera prst="orthographicFront"/>
      <a:lightRig rig="threePt" dir="t">
        <a:rot lat="0" lon="0" rev="7500000"/>
      </a:lightRig>
    </dgm:scene3d>
    <dgm:sp3d extrusionH="190500" prstMaterial="dkEdge">
      <a:bevelT w="120650" h="38100" prst="relaxedInset"/>
      <a:bevelB w="120650" h="571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AccFollowNode1">
    <dgm:scene3d>
      <a:camera prst="orthographicFront"/>
      <a:lightRig rig="threePt" dir="t">
        <a:rot lat="0" lon="0" rev="7500000"/>
      </a:lightRig>
    </dgm:scene3d>
    <dgm:sp3d z="-152400" extrusionH="63500" prstMaterial="dkEdge">
      <a:bevelT w="14445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0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2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3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fgAcc4">
    <dgm:scene3d>
      <a:camera prst="orthographicFront"/>
      <a:lightRig rig="threePt" dir="t">
        <a:rot lat="0" lon="0" rev="7500000"/>
      </a:lightRig>
    </dgm:scene3d>
    <dgm:sp3d z="152400" extrusionH="63500" prstMaterial="dkEdge">
      <a:bevelT w="125400" h="36350" prst="relaxedInset"/>
      <a:contourClr>
        <a:schemeClr val="bg1"/>
      </a:contourClr>
    </dgm:sp3d>
    <dgm:txPr/>
    <dgm:style>
      <a:lnRef idx="1">
        <a:scrgbClr r="0" g="0" b="0"/>
      </a:lnRef>
      <a:fillRef idx="1">
        <a:scrgbClr r="0" g="0" b="0"/>
      </a:fillRef>
      <a:effectRef idx="2">
        <a:scrgbClr r="0" g="0" b="0"/>
      </a:effectRef>
      <a:fontRef idx="minor"/>
    </dgm:style>
  </dgm:styleLbl>
  <dgm:styleLbl name="bgShp">
    <dgm:scene3d>
      <a:camera prst="orthographicFront"/>
      <a:lightRig rig="threePt" dir="t">
        <a:rot lat="0" lon="0" rev="7500000"/>
      </a:lightRig>
    </dgm:scene3d>
    <dgm:sp3d z="-152400" extrusionH="63500" prstMaterial="matte">
      <a:bevelT w="144450" h="6350" prst="relaxedInset"/>
      <a:contourClr>
        <a:schemeClr val="bg1"/>
      </a:contourClr>
    </dgm:sp3d>
    <dgm:txPr/>
    <dgm:style>
      <a:lnRef idx="0">
        <a:scrgbClr r="0" g="0" b="0"/>
      </a:lnRef>
      <a:fillRef idx="3">
        <a:scrgbClr r="0" g="0" b="0"/>
      </a:fillRef>
      <a:effectRef idx="0">
        <a:scrgbClr r="0" g="0" b="0"/>
      </a:effectRef>
      <a:fontRef idx="minor"/>
    </dgm:style>
  </dgm:styleLbl>
  <dgm:styleLbl name="dkBgShp">
    <dgm:scene3d>
      <a:camera prst="orthographicFront"/>
      <a:lightRig rig="threePt" dir="t">
        <a:rot lat="0" lon="0" rev="7500000"/>
      </a:lightRig>
    </dgm:scene3d>
    <dgm:sp3d prstMaterial="plastic">
      <a:bevelT w="127000" h="25400" prst="relaxedInset"/>
      <a:bevelB w="88900" h="121750" prst="angle"/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trBgShp">
    <dgm:scene3d>
      <a:camera prst="orthographicFront"/>
      <a:lightRig rig="threePt" dir="t"/>
    </dgm:scene3d>
    <dgm:sp3d z="-152400" prstMaterial="matte"/>
    <dgm:txPr/>
    <dgm:style>
      <a:lnRef idx="0">
        <a:scrgbClr r="0" g="0" b="0"/>
      </a:lnRef>
      <a:fillRef idx="1">
        <a:scrgbClr r="0" g="0" b="0"/>
      </a:fillRef>
      <a:effectRef idx="0">
        <a:scrgbClr r="0" g="0" b="0"/>
      </a:effectRef>
      <a:fontRef idx="minor"/>
    </dgm:style>
  </dgm:styleLbl>
  <dgm:styleLbl name="fgShp">
    <dgm:scene3d>
      <a:camera prst="orthographicFront"/>
      <a:lightRig rig="threePt" dir="t">
        <a:rot lat="0" lon="0" rev="7500000"/>
      </a:lightRig>
    </dgm:scene3d>
    <dgm:sp3d z="152400" extrusionH="63500" prstMaterial="matte">
      <a:bevelT w="50800" h="19050" prst="relaxedInset"/>
      <a:contourClr>
        <a:schemeClr val="bg1"/>
      </a:contourClr>
    </dgm:sp3d>
    <dgm:txPr/>
    <dgm:style>
      <a:lnRef idx="0">
        <a:scrgbClr r="0" g="0" b="0"/>
      </a:lnRef>
      <a:fillRef idx="1">
        <a:scrgbClr r="0" g="0" b="0"/>
      </a:fillRef>
      <a:effectRef idx="2">
        <a:scrgbClr r="0" g="0" b="0"/>
      </a:effectRef>
      <a:fontRef idx="minor">
        <a:schemeClr val="lt1"/>
      </a:fontRef>
    </dgm:style>
  </dgm:styleLbl>
  <dgm:styleLbl name="revTx">
    <dgm:scene3d>
      <a:camera prst="orthographicFront"/>
      <a:lightRig rig="threePt" dir="t"/>
    </dgm:scene3d>
    <dgm:sp3d/>
    <dgm:txPr/>
    <dgm:style>
      <a:lnRef idx="0">
        <a:scrgbClr r="0" g="0" b="0"/>
      </a:lnRef>
      <a:fillRef idx="0">
        <a:scrgbClr r="0" g="0" b="0"/>
      </a:fillRef>
      <a:effectRef idx="0">
        <a:scrgbClr r="0" g="0" b="0"/>
      </a:effectRef>
      <a:fontRef idx="minor"/>
    </dgm:style>
  </dgm:styleLbl>
</dgm:styleDef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>
            <a:extLst>
              <a:ext uri="{FF2B5EF4-FFF2-40B4-BE49-F238E27FC236}">
                <a16:creationId xmlns:a16="http://schemas.microsoft.com/office/drawing/2014/main" xmlns="" id="{AA94D830-0E40-476C-81D4-2BD06ECDF962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1"/>
            <a:ext cx="3079202" cy="513858"/>
          </a:xfrm>
          <a:prstGeom prst="rect">
            <a:avLst/>
          </a:prstGeom>
        </p:spPr>
        <p:txBody>
          <a:bodyPr vert="horz" lIns="94787" tIns="47393" rIns="94787" bIns="47393" rtlCol="0"/>
          <a:lstStyle>
            <a:lvl1pPr algn="l">
              <a:defRPr sz="1200"/>
            </a:lvl1pPr>
          </a:lstStyle>
          <a:p>
            <a:endParaRPr lang="x-none"/>
          </a:p>
        </p:txBody>
      </p:sp>
      <p:sp>
        <p:nvSpPr>
          <p:cNvPr id="3" name="Дата 2">
            <a:extLst>
              <a:ext uri="{FF2B5EF4-FFF2-40B4-BE49-F238E27FC236}">
                <a16:creationId xmlns:a16="http://schemas.microsoft.com/office/drawing/2014/main" xmlns="" id="{21C86C0E-9DE5-4E55-8BA6-BB1C69A11E5E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4023203" y="1"/>
            <a:ext cx="3079202" cy="513858"/>
          </a:xfrm>
          <a:prstGeom prst="rect">
            <a:avLst/>
          </a:prstGeom>
        </p:spPr>
        <p:txBody>
          <a:bodyPr vert="horz" lIns="94787" tIns="47393" rIns="94787" bIns="47393" rtlCol="0"/>
          <a:lstStyle>
            <a:lvl1pPr algn="r">
              <a:defRPr sz="1200"/>
            </a:lvl1pPr>
          </a:lstStyle>
          <a:p>
            <a:fld id="{BFCA6556-73B0-49A2-A4AF-242E60F404F4}" type="datetimeFigureOut">
              <a:rPr lang="x-none" smtClean="0"/>
              <a:pPr/>
              <a:t>07.12.2023</a:t>
            </a:fld>
            <a:endParaRPr lang="x-none"/>
          </a:p>
        </p:txBody>
      </p:sp>
      <p:sp>
        <p:nvSpPr>
          <p:cNvPr id="4" name="Нижний колонтитул 3">
            <a:extLst>
              <a:ext uri="{FF2B5EF4-FFF2-40B4-BE49-F238E27FC236}">
                <a16:creationId xmlns:a16="http://schemas.microsoft.com/office/drawing/2014/main" xmlns="" id="{CA40C98D-C29C-4CB2-AEA8-A9C56B8218AA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9720755"/>
            <a:ext cx="3079202" cy="513858"/>
          </a:xfrm>
          <a:prstGeom prst="rect">
            <a:avLst/>
          </a:prstGeom>
        </p:spPr>
        <p:txBody>
          <a:bodyPr vert="horz" lIns="94787" tIns="47393" rIns="94787" bIns="47393" rtlCol="0" anchor="b"/>
          <a:lstStyle>
            <a:lvl1pPr algn="l">
              <a:defRPr sz="1200"/>
            </a:lvl1pPr>
          </a:lstStyle>
          <a:p>
            <a:endParaRPr lang="x-none"/>
          </a:p>
        </p:txBody>
      </p:sp>
      <p:sp>
        <p:nvSpPr>
          <p:cNvPr id="5" name="Номер слайда 4">
            <a:extLst>
              <a:ext uri="{FF2B5EF4-FFF2-40B4-BE49-F238E27FC236}">
                <a16:creationId xmlns:a16="http://schemas.microsoft.com/office/drawing/2014/main" xmlns="" id="{10C4BE0A-F2E7-4155-A547-912E402EBE60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4023203" y="9720755"/>
            <a:ext cx="3079202" cy="513858"/>
          </a:xfrm>
          <a:prstGeom prst="rect">
            <a:avLst/>
          </a:prstGeom>
        </p:spPr>
        <p:txBody>
          <a:bodyPr vert="horz" lIns="94787" tIns="47393" rIns="94787" bIns="47393" rtlCol="0" anchor="b"/>
          <a:lstStyle>
            <a:lvl1pPr algn="r">
              <a:defRPr sz="1200"/>
            </a:lvl1pPr>
          </a:lstStyle>
          <a:p>
            <a:fld id="{8AD79434-6D7B-4CAE-A660-64BB76BE8169}" type="slidenum">
              <a:rPr lang="x-none" smtClean="0"/>
              <a:pPr/>
              <a:t>‹#›</a:t>
            </a:fld>
            <a:endParaRPr lang="x-none"/>
          </a:p>
        </p:txBody>
      </p:sp>
    </p:spTree>
    <p:extLst>
      <p:ext uri="{BB962C8B-B14F-4D97-AF65-F5344CB8AC3E}">
        <p14:creationId xmlns:p14="http://schemas.microsoft.com/office/powerpoint/2010/main" xmlns="" val="3324509403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lt1"/>
        </a:solidFill>
        <a:effectLst/>
      </p:bgPr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 txBox="1">
            <a:spLocks noGrp="1"/>
          </p:cNvSpPr>
          <p:nvPr>
            <p:ph type="hdr" idx="2"/>
          </p:nvPr>
        </p:nvSpPr>
        <p:spPr>
          <a:xfrm>
            <a:off x="1" y="1"/>
            <a:ext cx="3079145" cy="513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5056" tIns="47528" rIns="95056" bIns="47528" anchor="t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4" name="Google Shape;4;n"/>
          <p:cNvSpPr txBox="1">
            <a:spLocks noGrp="1"/>
          </p:cNvSpPr>
          <p:nvPr>
            <p:ph type="dt" idx="10"/>
          </p:nvPr>
        </p:nvSpPr>
        <p:spPr>
          <a:xfrm>
            <a:off x="4023281" y="1"/>
            <a:ext cx="3079144" cy="513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5056" tIns="47528" rIns="95056" bIns="47528" anchor="t" anchorCtr="0">
            <a:noAutofit/>
          </a:bodyPr>
          <a:lstStyle>
            <a:lvl1pPr marR="0" lvl="0" algn="r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5" name="Google Shape;5;n"/>
          <p:cNvSpPr>
            <a:spLocks noGrp="1" noRot="1" noChangeAspect="1"/>
          </p:cNvSpPr>
          <p:nvPr>
            <p:ph type="sldImg" idx="3"/>
          </p:nvPr>
        </p:nvSpPr>
        <p:spPr>
          <a:xfrm>
            <a:off x="484188" y="1279525"/>
            <a:ext cx="6135687" cy="3451225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6" name="Google Shape;6;n"/>
          <p:cNvSpPr txBox="1">
            <a:spLocks noGrp="1"/>
          </p:cNvSpPr>
          <p:nvPr>
            <p:ph type="body" idx="1"/>
          </p:nvPr>
        </p:nvSpPr>
        <p:spPr>
          <a:xfrm>
            <a:off x="710573" y="4924457"/>
            <a:ext cx="5682918" cy="4032065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5056" tIns="47528" rIns="95056" bIns="47528" anchor="t" anchorCtr="0">
            <a:noAutofit/>
          </a:bodyPr>
          <a:lstStyle>
            <a:lvl1pPr marL="457200" marR="0" lvl="0" indent="-228600" algn="l" rtl="0">
              <a:spcBef>
                <a:spcPts val="27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L="914400" marR="0" lvl="1" indent="-228600" algn="l" rtl="0">
              <a:spcBef>
                <a:spcPts val="27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L="1371600" marR="0" lvl="2" indent="-228600" algn="l" rtl="0">
              <a:spcBef>
                <a:spcPts val="27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L="1828800" marR="0" lvl="3" indent="-228600" algn="l" rtl="0">
              <a:spcBef>
                <a:spcPts val="27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L="2286000" marR="0" lvl="4" indent="-228600" algn="l" rtl="0">
              <a:spcBef>
                <a:spcPts val="270"/>
              </a:spcBef>
              <a:spcAft>
                <a:spcPts val="0"/>
              </a:spcAft>
              <a:buSzPts val="1400"/>
              <a:buNone/>
              <a:defRPr sz="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L="2743200" marR="0" lvl="5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8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L="3200400" marR="0" lvl="6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8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L="3657600" marR="0" lvl="7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8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L="4114800" marR="0" lvl="8" indent="-22860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908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/>
          </a:p>
        </p:txBody>
      </p:sp>
      <p:sp>
        <p:nvSpPr>
          <p:cNvPr id="7" name="Google Shape;7;n"/>
          <p:cNvSpPr txBox="1">
            <a:spLocks noGrp="1"/>
          </p:cNvSpPr>
          <p:nvPr>
            <p:ph type="ftr" idx="11"/>
          </p:nvPr>
        </p:nvSpPr>
        <p:spPr>
          <a:xfrm>
            <a:off x="1" y="9721421"/>
            <a:ext cx="3079145" cy="513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5056" tIns="47528" rIns="95056" bIns="47528" anchor="b" anchorCtr="0">
            <a:noAutofit/>
          </a:bodyPr>
          <a:lstStyle>
            <a:lvl1pPr marR="0" lvl="0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2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1pPr>
            <a:lvl2pPr marR="0" lvl="1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2pPr>
            <a:lvl3pPr marR="0" lvl="2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3pPr>
            <a:lvl4pPr marR="0" lvl="3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4pPr>
            <a:lvl5pPr marR="0" lvl="4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5pPr>
            <a:lvl6pPr marR="0" lvl="5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6pPr>
            <a:lvl7pPr marR="0" lvl="6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7pPr>
            <a:lvl8pPr marR="0" lvl="7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8pPr>
            <a:lvl9pPr marR="0" lvl="8" algn="l" rtl="0">
              <a:spcBef>
                <a:spcPts val="0"/>
              </a:spcBef>
              <a:spcAft>
                <a:spcPts val="0"/>
              </a:spcAft>
              <a:buSzPts val="1400"/>
              <a:buNone/>
              <a:defRPr sz="1900" b="0" i="0" u="none" strike="noStrike" cap="none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defRPr>
            </a:lvl9pPr>
          </a:lstStyle>
          <a:p>
            <a:endParaRPr dirty="0"/>
          </a:p>
        </p:txBody>
      </p:sp>
      <p:sp>
        <p:nvSpPr>
          <p:cNvPr id="8" name="Google Shape;8;n"/>
          <p:cNvSpPr txBox="1">
            <a:spLocks noGrp="1"/>
          </p:cNvSpPr>
          <p:nvPr>
            <p:ph type="sldNum" idx="12"/>
          </p:nvPr>
        </p:nvSpPr>
        <p:spPr>
          <a:xfrm>
            <a:off x="4023281" y="9721421"/>
            <a:ext cx="3079144" cy="513201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5056" tIns="47528" rIns="95056" bIns="47528" anchor="b" anchorCtr="0">
            <a:noAutofit/>
          </a:bodyPr>
          <a:lstStyle/>
          <a:p>
            <a:pPr algn="r"/>
            <a:fld id="{00000000-1234-1234-1234-123412341234}" type="slidenum">
              <a:rPr lang="ru-RU" sz="1200" smtClean="0">
                <a:solidFill>
                  <a:schemeClr val="dk1"/>
                </a:solidFill>
                <a:latin typeface="Calibri"/>
                <a:ea typeface="Calibri"/>
                <a:cs typeface="Calibri"/>
                <a:sym typeface="Calibri"/>
              </a:rPr>
              <a:pPr algn="r"/>
              <a:t>‹#›</a:t>
            </a:fld>
            <a:endParaRPr lang="ru-RU" sz="1200" dirty="0">
              <a:solidFill>
                <a:schemeClr val="dk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785523994"/>
      </p:ext>
    </p:extLst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4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Google Shape;42;p1:notes"/>
          <p:cNvSpPr>
            <a:spLocks noGrp="1" noRot="1" noChangeAspect="1"/>
          </p:cNvSpPr>
          <p:nvPr>
            <p:ph type="sldImg" idx="2"/>
          </p:nvPr>
        </p:nvSpPr>
        <p:spPr>
          <a:xfrm>
            <a:off x="465138" y="1285875"/>
            <a:ext cx="6173787" cy="3471863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12700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3" name="Google Shape;43;p1:notes"/>
          <p:cNvSpPr txBox="1">
            <a:spLocks noGrp="1"/>
          </p:cNvSpPr>
          <p:nvPr>
            <p:ph type="body" idx="1"/>
          </p:nvPr>
        </p:nvSpPr>
        <p:spPr>
          <a:xfrm>
            <a:off x="575294" y="5529540"/>
            <a:ext cx="6053839" cy="25664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5056" tIns="47528" rIns="95056" bIns="47528" anchor="t" anchorCtr="0">
            <a:noAutofit/>
          </a:bodyPr>
          <a:lstStyle/>
          <a:p>
            <a:pPr marL="0" indent="0">
              <a:spcBef>
                <a:spcPts val="0"/>
              </a:spcBef>
            </a:pPr>
            <a:r>
              <a:rPr lang="ru-RU" sz="1600" b="1" dirty="0"/>
              <a:t>АСЫЛБЕК</a:t>
            </a:r>
            <a:endParaRPr sz="1600" b="1" dirty="0"/>
          </a:p>
        </p:txBody>
      </p:sp>
      <p:sp>
        <p:nvSpPr>
          <p:cNvPr id="44" name="Google Shape;44;p1:notes"/>
          <p:cNvSpPr txBox="1">
            <a:spLocks noGrp="1"/>
          </p:cNvSpPr>
          <p:nvPr>
            <p:ph type="sldNum" idx="12"/>
          </p:nvPr>
        </p:nvSpPr>
        <p:spPr>
          <a:xfrm>
            <a:off x="4023280" y="9774560"/>
            <a:ext cx="3079144" cy="51600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5056" tIns="47528" rIns="95056" bIns="47528" anchor="b" anchorCtr="0">
            <a:noAutofit/>
          </a:bodyPr>
          <a:lstStyle/>
          <a:p>
            <a:pPr algn="r"/>
            <a:fld id="{00000000-1234-1234-1234-123412341234}" type="slidenum">
              <a:rPr lang="ru-RU">
                <a:solidFill>
                  <a:srgbClr val="000000"/>
                </a:solidFill>
              </a:rPr>
              <a:pPr algn="r"/>
              <a:t>0</a:t>
            </a:fld>
            <a:endParaRPr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xmlns="" val="165254776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pPr>
              <a:defRPr/>
            </a:pPr>
            <a:fld id="{3C3A632B-FBDE-46D4-BF6F-6D14421E6342}" type="slidenum">
              <a:rPr lang="en-US" smtClean="0"/>
              <a:pPr>
                <a:defRPr/>
              </a:pPr>
              <a:t>5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74261096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53CEB00B-F7EC-4C34-AA12-92AA8EE6EBA0}" type="slidenum">
              <a:rPr lang="ru-RU" smtClean="0"/>
              <a:pPr/>
              <a:t>7</a:t>
            </a:fld>
            <a:endParaRPr lang="ru-RU"/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tags" Target="../tags/tag2.xml"/><Relationship Id="rId2" Type="http://schemas.openxmlformats.org/officeDocument/2006/relationships/tags" Target="../tags/tag1.xml"/><Relationship Id="rId1" Type="http://schemas.openxmlformats.org/officeDocument/2006/relationships/vmlDrawing" Target="../drawings/vmlDrawing1.vml"/><Relationship Id="rId5" Type="http://schemas.openxmlformats.org/officeDocument/2006/relationships/oleObject" Target="../embeddings/oleObject1.bin"/><Relationship Id="rId4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43000" y="841772"/>
            <a:ext cx="6858000" cy="1790700"/>
          </a:xfrm>
        </p:spPr>
        <p:txBody>
          <a:bodyPr anchor="b"/>
          <a:lstStyle>
            <a:lvl1pPr algn="ctr"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43000" y="2701528"/>
            <a:ext cx="6858000" cy="1241822"/>
          </a:xfrm>
        </p:spPr>
        <p:txBody>
          <a:bodyPr/>
          <a:lstStyle>
            <a:lvl1pPr marL="0" indent="0" algn="ctr">
              <a:buNone/>
              <a:defRPr sz="1800"/>
            </a:lvl1pPr>
            <a:lvl2pPr marL="342900" indent="0" algn="ctr">
              <a:buNone/>
              <a:defRPr sz="1500"/>
            </a:lvl2pPr>
            <a:lvl3pPr marL="685800" indent="0" algn="ctr">
              <a:buNone/>
              <a:defRPr sz="135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8DBDB7-AA23-4B72-A7FB-D7DF747DAFD6}" type="datetimeFigureOut">
              <a:rPr lang="en-US" smtClean="0"/>
              <a:pPr/>
              <a:t>12/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890F56-36D6-466F-9DCB-06CEA1FD312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xmlns="" id="{E2371E9A-81FA-4C6D-89EC-6E783D0A1D15}"/>
              </a:ext>
            </a:extLst>
          </p:cNvPr>
          <p:cNvSpPr txBox="1">
            <a:spLocks/>
          </p:cNvSpPr>
          <p:nvPr userDrawn="1"/>
        </p:nvSpPr>
        <p:spPr bwMode="auto">
          <a:xfrm>
            <a:off x="8971132" y="4965901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ru-RU" sz="80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ru-RU" sz="8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174637631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8DBDB7-AA23-4B72-A7FB-D7DF747DAFD6}" type="datetimeFigureOut">
              <a:rPr lang="en-US" smtClean="0"/>
              <a:pPr/>
              <a:t>12/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890F56-36D6-466F-9DCB-06CEA1FD31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03166787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543675" y="273844"/>
            <a:ext cx="1971675" cy="4358879"/>
          </a:xfr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273844"/>
            <a:ext cx="5800725" cy="4358879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8DBDB7-AA23-4B72-A7FB-D7DF747DAFD6}" type="datetimeFigureOut">
              <a:rPr lang="en-US" smtClean="0"/>
              <a:pPr/>
              <a:t>12/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890F56-36D6-466F-9DCB-06CEA1FD31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95583900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3" hidden="1">
            <a:extLst>
              <a:ext uri="{FF2B5EF4-FFF2-40B4-BE49-F238E27FC236}">
                <a16:creationId xmlns:a16="http://schemas.microsoft.com/office/drawing/2014/main" xmlns="" id="{D451C9F8-CD44-49B3-9349-45FE6EA60BB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621" y="1215"/>
          <a:ext cx="1620" cy="1215"/>
        </p:xfrm>
        <a:graphic>
          <a:graphicData uri="http://schemas.openxmlformats.org/presentationml/2006/ole">
            <p:oleObj spid="_x0000_s1299" name="think-cell Slide" r:id="rId5" imgW="0" imgH="0" progId="">
              <p:embed/>
            </p:oleObj>
          </a:graphicData>
        </a:graphic>
      </p:graphicFrame>
      <p:sp>
        <p:nvSpPr>
          <p:cNvPr id="3" name="Rectangle 2" hidden="1">
            <a:extLst>
              <a:ext uri="{FF2B5EF4-FFF2-40B4-BE49-F238E27FC236}">
                <a16:creationId xmlns:a16="http://schemas.microsoft.com/office/drawing/2014/main" xmlns="" id="{B3E0B84D-EB8B-4BBA-8DC1-EF6272CF35B5}"/>
              </a:ext>
            </a:extLst>
          </p:cNvPr>
          <p:cNvSpPr/>
          <p:nvPr userDrawn="1">
            <p:custDataLst>
              <p:tags r:id="rId3"/>
            </p:custDataLst>
          </p:nvPr>
        </p:nvSpPr>
        <p:spPr>
          <a:xfrm>
            <a:off x="0" y="0"/>
            <a:ext cx="161984" cy="121481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none" lIns="0" tIns="0" rIns="0" bIns="0" numCol="1" spcCol="0" rtlCol="0" anchor="ctr" anchorCtr="0">
            <a:noAutofit/>
          </a:bodyPr>
          <a:lstStyle/>
          <a:p>
            <a:pPr marL="0" lvl="0" indent="0" algn="ctr" eaLnBrk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</a:pPr>
            <a:endParaRPr lang="en-US" sz="1454" b="0" i="0" baseline="0" dirty="0">
              <a:solidFill>
                <a:schemeClr val="tx1"/>
              </a:solidFill>
              <a:latin typeface="Segoe UI Black" panose="020B0A02040204020203" pitchFamily="34" charset="0"/>
              <a:ea typeface="ＭＳ Ｐゴシック" panose="020B0600070205080204" pitchFamily="34" charset="-128"/>
              <a:cs typeface="+mj-cs"/>
              <a:sym typeface="Segoe UI Black" panose="020B0A02040204020203" pitchFamily="34" charset="0"/>
            </a:endParaRPr>
          </a:p>
        </p:txBody>
      </p:sp>
      <p:sp>
        <p:nvSpPr>
          <p:cNvPr id="2" name="2. Slide Title"/>
          <p:cNvSpPr>
            <a:spLocks noGrp="1"/>
          </p:cNvSpPr>
          <p:nvPr>
            <p:ph type="title"/>
          </p:nvPr>
        </p:nvSpPr>
        <p:spPr bwMode="auto">
          <a:xfrm>
            <a:off x="174945" y="142508"/>
            <a:ext cx="8794113" cy="223745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ru-RU" dirty="0"/>
          </a:p>
        </p:txBody>
      </p:sp>
      <p:sp>
        <p:nvSpPr>
          <p:cNvPr id="5" name="doc id" hidden="1"/>
          <p:cNvSpPr>
            <a:spLocks noChangeArrowheads="1"/>
          </p:cNvSpPr>
          <p:nvPr userDrawn="1"/>
        </p:nvSpPr>
        <p:spPr bwMode="auto">
          <a:xfrm>
            <a:off x="8246609" y="38875"/>
            <a:ext cx="670614" cy="93540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0" tIns="0" rIns="0" bIns="0"/>
          <a:lstStyle/>
          <a:p>
            <a:pPr algn="r" defTabSz="685122"/>
            <a:endParaRPr lang="ru-RU" sz="612" baseline="0" dirty="0">
              <a:solidFill>
                <a:srgbClr val="808080"/>
              </a:solidFill>
              <a:latin typeface="+mn-lt"/>
              <a:ea typeface="+mn-ea"/>
            </a:endParaRPr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xmlns="" id="{9754C58B-434D-4738-B6A6-8F6456D5B983}"/>
              </a:ext>
            </a:extLst>
          </p:cNvPr>
          <p:cNvSpPr txBox="1">
            <a:spLocks/>
          </p:cNvSpPr>
          <p:nvPr userDrawn="1"/>
        </p:nvSpPr>
        <p:spPr bwMode="auto">
          <a:xfrm>
            <a:off x="8971132" y="4965901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ru-RU" sz="80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ru-RU" sz="8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xmlns="" val="3544956954"/>
      </p:ext>
    </p:extLst>
  </p:cSld>
  <p:clrMapOvr>
    <a:masterClrMapping/>
  </p:clrMapOvr>
  <p:extLst>
    <p:ext uri="{DCECCB84-F9BA-43D5-87BE-67443E8EF086}">
      <p15:sldGuideLst xmlns:p15="http://schemas.microsoft.com/office/powerpoint/2012/main" xmlns="">
        <p15:guide id="1" pos="5617">
          <p15:clr>
            <a:srgbClr val="F26B43"/>
          </p15:clr>
        </p15:guide>
        <p15:guide id="2" pos="76">
          <p15:clr>
            <a:srgbClr val="F26B43"/>
          </p15:clr>
        </p15:guide>
        <p15:guide id="3" orient="horz" pos="437">
          <p15:clr>
            <a:srgbClr val="F26B43"/>
          </p15:clr>
        </p15:guide>
        <p15:guide id="4" orient="horz" pos="2993">
          <p15:clr>
            <a:srgbClr val="F26B43"/>
          </p15:clr>
        </p15:guide>
      </p15:sldGuideLst>
    </p:ext>
  </p:extLst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8DBDB7-AA23-4B72-A7FB-D7DF747DAFD6}" type="datetimeFigureOut">
              <a:rPr lang="en-US" smtClean="0"/>
              <a:pPr/>
              <a:t>12/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890F56-36D6-466F-9DCB-06CEA1FD312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Slide Number">
            <a:extLst>
              <a:ext uri="{FF2B5EF4-FFF2-40B4-BE49-F238E27FC236}">
                <a16:creationId xmlns:a16="http://schemas.microsoft.com/office/drawing/2014/main" xmlns="" id="{F5B89787-795C-4D11-886A-D82CDCFA9ACE}"/>
              </a:ext>
            </a:extLst>
          </p:cNvPr>
          <p:cNvSpPr txBox="1">
            <a:spLocks/>
          </p:cNvSpPr>
          <p:nvPr userDrawn="1"/>
        </p:nvSpPr>
        <p:spPr bwMode="auto">
          <a:xfrm>
            <a:off x="8971132" y="4965901"/>
            <a:ext cx="125034" cy="123111"/>
          </a:xfrm>
          <a:prstGeom prst="rect">
            <a:avLst/>
          </a:prstGeom>
        </p:spPr>
        <p:txBody>
          <a:bodyPr vert="horz" wrap="none" lIns="0" tIns="0" rIns="0" bIns="0" rtlCol="0" anchor="ctr">
            <a:spAutoFit/>
          </a:bodyPr>
          <a:lstStyle>
            <a:defPPr>
              <a:defRPr lang="ru-RU"/>
            </a:defPPr>
            <a:lvl1pPr>
              <a:defRPr sz="1000" baseline="0">
                <a:latin typeface="+mn-lt"/>
              </a:defRPr>
            </a:lvl1pPr>
          </a:lstStyle>
          <a:p>
            <a:fld id="{42C328C1-A84F-4A39-A664-DBA00541A8C6}" type="slidenum">
              <a:rPr lang="ru-RU" sz="800" smtClean="0">
                <a:solidFill>
                  <a:schemeClr val="bg1">
                    <a:lumMod val="50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rPr>
              <a:pPr/>
              <a:t>‹#›</a:t>
            </a:fld>
            <a:endParaRPr lang="ru-RU" sz="800" dirty="0">
              <a:solidFill>
                <a:schemeClr val="bg1">
                  <a:lumMod val="50000"/>
                </a:schemeClr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8" name="Straight Connector 88">
            <a:extLst>
              <a:ext uri="{FF2B5EF4-FFF2-40B4-BE49-F238E27FC236}">
                <a16:creationId xmlns:a16="http://schemas.microsoft.com/office/drawing/2014/main" xmlns="" id="{AB28AACD-86D7-456C-A08A-A3A9B1F1CAD4}"/>
              </a:ext>
            </a:extLst>
          </p:cNvPr>
          <p:cNvCxnSpPr>
            <a:cxnSpLocks/>
          </p:cNvCxnSpPr>
          <p:nvPr userDrawn="1"/>
        </p:nvCxnSpPr>
        <p:spPr>
          <a:xfrm>
            <a:off x="0" y="523218"/>
            <a:ext cx="914400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xmlns="" val="337105207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3888" y="1282304"/>
            <a:ext cx="7886700" cy="2139553"/>
          </a:xfrm>
        </p:spPr>
        <p:txBody>
          <a:bodyPr anchor="b"/>
          <a:lstStyle>
            <a:lvl1pPr>
              <a:defRPr sz="45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3888" y="3442098"/>
            <a:ext cx="7886700" cy="1125140"/>
          </a:xfrm>
        </p:spPr>
        <p:txBody>
          <a:bodyPr/>
          <a:lstStyle>
            <a:lvl1pPr marL="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1pPr>
            <a:lvl2pPr marL="342900" indent="0">
              <a:buNone/>
              <a:defRPr sz="15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35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8DBDB7-AA23-4B72-A7FB-D7DF747DAFD6}" type="datetimeFigureOut">
              <a:rPr lang="en-US" smtClean="0"/>
              <a:pPr/>
              <a:t>12/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890F56-36D6-466F-9DCB-06CEA1FD31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178983077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286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29150" y="1369219"/>
            <a:ext cx="3886200" cy="3263504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8DBDB7-AA23-4B72-A7FB-D7DF747DAFD6}" type="datetimeFigureOut">
              <a:rPr lang="en-US" smtClean="0"/>
              <a:pPr/>
              <a:t>12/7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890F56-36D6-466F-9DCB-06CEA1FD31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92842695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273844"/>
            <a:ext cx="7886700" cy="994172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9842" y="1260872"/>
            <a:ext cx="3868340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29842" y="1878806"/>
            <a:ext cx="3868340" cy="2763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629150" y="1260872"/>
            <a:ext cx="3887391" cy="617934"/>
          </a:xfrm>
        </p:spPr>
        <p:txBody>
          <a:bodyPr anchor="b"/>
          <a:lstStyle>
            <a:lvl1pPr marL="0" indent="0">
              <a:buNone/>
              <a:defRPr sz="1800" b="1"/>
            </a:lvl1pPr>
            <a:lvl2pPr marL="342900" indent="0">
              <a:buNone/>
              <a:defRPr sz="1500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629150" y="1878806"/>
            <a:ext cx="3887391" cy="2763441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8DBDB7-AA23-4B72-A7FB-D7DF747DAFD6}" type="datetimeFigureOut">
              <a:rPr lang="en-US" smtClean="0"/>
              <a:pPr/>
              <a:t>12/7/2023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890F56-36D6-466F-9DCB-06CEA1FD31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241081717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8DBDB7-AA23-4B72-A7FB-D7DF747DAFD6}" type="datetimeFigureOut">
              <a:rPr lang="en-US" smtClean="0"/>
              <a:pPr/>
              <a:t>12/7/2023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890F56-36D6-466F-9DCB-06CEA1FD31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186492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8DBDB7-AA23-4B72-A7FB-D7DF747DAFD6}" type="datetimeFigureOut">
              <a:rPr lang="en-US" smtClean="0"/>
              <a:pPr/>
              <a:t>12/7/2023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890F56-36D6-466F-9DCB-06CEA1FD31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873208187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>
              <a:defRPr sz="2400"/>
            </a:lvl1pPr>
            <a:lvl2pPr>
              <a:defRPr sz="2100"/>
            </a:lvl2pPr>
            <a:lvl3pPr>
              <a:defRPr sz="1800"/>
            </a:lvl3pPr>
            <a:lvl4pPr>
              <a:defRPr sz="1500"/>
            </a:lvl4pPr>
            <a:lvl5pPr>
              <a:defRPr sz="1500"/>
            </a:lvl5pPr>
            <a:lvl6pPr>
              <a:defRPr sz="1500"/>
            </a:lvl6pPr>
            <a:lvl7pPr>
              <a:defRPr sz="1500"/>
            </a:lvl7pPr>
            <a:lvl8pPr>
              <a:defRPr sz="1500"/>
            </a:lvl8pPr>
            <a:lvl9pPr>
              <a:defRPr sz="15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8DBDB7-AA23-4B72-A7FB-D7DF747DAFD6}" type="datetimeFigureOut">
              <a:rPr lang="en-US" smtClean="0"/>
              <a:pPr/>
              <a:t>12/7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890F56-36D6-466F-9DCB-06CEA1FD31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4008855817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9841" y="342900"/>
            <a:ext cx="2949178" cy="1200150"/>
          </a:xfrm>
        </p:spPr>
        <p:txBody>
          <a:bodyPr anchor="b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3887391" y="740569"/>
            <a:ext cx="4629150" cy="3655219"/>
          </a:xfrm>
        </p:spPr>
        <p:txBody>
          <a:bodyPr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29841" y="1543050"/>
            <a:ext cx="2949178" cy="2858691"/>
          </a:xfrm>
        </p:spPr>
        <p:txBody>
          <a:bodyPr/>
          <a:lstStyle>
            <a:lvl1pPr marL="0" indent="0">
              <a:buNone/>
              <a:defRPr sz="1200"/>
            </a:lvl1pPr>
            <a:lvl2pPr marL="342900" indent="0">
              <a:buNone/>
              <a:defRPr sz="1050"/>
            </a:lvl2pPr>
            <a:lvl3pPr marL="685800" indent="0">
              <a:buNone/>
              <a:defRPr sz="900"/>
            </a:lvl3pPr>
            <a:lvl4pPr marL="1028700" indent="0">
              <a:buNone/>
              <a:defRPr sz="750"/>
            </a:lvl4pPr>
            <a:lvl5pPr marL="1371600" indent="0">
              <a:buNone/>
              <a:defRPr sz="750"/>
            </a:lvl5pPr>
            <a:lvl6pPr marL="1714500" indent="0">
              <a:buNone/>
              <a:defRPr sz="750"/>
            </a:lvl6pPr>
            <a:lvl7pPr marL="2057400" indent="0">
              <a:buNone/>
              <a:defRPr sz="750"/>
            </a:lvl7pPr>
            <a:lvl8pPr marL="2400300" indent="0">
              <a:buNone/>
              <a:defRPr sz="750"/>
            </a:lvl8pPr>
            <a:lvl9pPr marL="2743200" indent="0">
              <a:buNone/>
              <a:defRPr sz="75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68DBDB7-AA23-4B72-A7FB-D7DF747DAFD6}" type="datetimeFigureOut">
              <a:rPr lang="en-US" smtClean="0"/>
              <a:pPr/>
              <a:t>12/7/2023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9890F56-36D6-466F-9DCB-06CEA1FD31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2907140020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273844"/>
            <a:ext cx="7886700" cy="994172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369219"/>
            <a:ext cx="7886700" cy="3263504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068DBDB7-AA23-4B72-A7FB-D7DF747DAFD6}" type="datetimeFigureOut">
              <a:rPr lang="en-US" smtClean="0"/>
              <a:pPr/>
              <a:t>12/7/2023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4767263"/>
            <a:ext cx="30861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4767263"/>
            <a:ext cx="2057400" cy="273844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9890F56-36D6-466F-9DCB-06CEA1FD312E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xmlns="" val="34381295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3" r:id="rId1"/>
    <p:sldLayoutId id="2147483664" r:id="rId2"/>
    <p:sldLayoutId id="2147483665" r:id="rId3"/>
    <p:sldLayoutId id="2147483666" r:id="rId4"/>
    <p:sldLayoutId id="2147483667" r:id="rId5"/>
    <p:sldLayoutId id="2147483668" r:id="rId6"/>
    <p:sldLayoutId id="2147483669" r:id="rId7"/>
    <p:sldLayoutId id="2147483670" r:id="rId8"/>
    <p:sldLayoutId id="2147483671" r:id="rId9"/>
    <p:sldLayoutId id="2147483672" r:id="rId10"/>
    <p:sldLayoutId id="2147483673" r:id="rId11"/>
    <p:sldLayoutId id="2147483675" r:id="rId12"/>
  </p:sldLayoutIdLst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0" indent="-171450" algn="l" defTabSz="685800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8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7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650" indent="-171450" algn="l" defTabSz="685800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2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2.pn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png"/><Relationship Id="rId3" Type="http://schemas.openxmlformats.org/officeDocument/2006/relationships/image" Target="../media/image6.png"/><Relationship Id="rId7" Type="http://schemas.openxmlformats.org/officeDocument/2006/relationships/image" Target="../media/image10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Relationship Id="rId9" Type="http://schemas.openxmlformats.org/officeDocument/2006/relationships/image" Target="../media/image12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Relationship Id="rId6" Type="http://schemas.openxmlformats.org/officeDocument/2006/relationships/image" Target="../media/image15.png"/><Relationship Id="rId5" Type="http://schemas.openxmlformats.org/officeDocument/2006/relationships/image" Target="../media/image14.jpeg"/><Relationship Id="rId4" Type="http://schemas.openxmlformats.org/officeDocument/2006/relationships/image" Target="../media/image13.jpe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6.png"/><Relationship Id="rId2" Type="http://schemas.openxmlformats.org/officeDocument/2006/relationships/image" Target="../media/image5.png"/><Relationship Id="rId1" Type="http://schemas.openxmlformats.org/officeDocument/2006/relationships/slideLayout" Target="../slideLayouts/slideLayout7.xml"/><Relationship Id="rId4" Type="http://schemas.openxmlformats.org/officeDocument/2006/relationships/image" Target="../media/image17.png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diagramQuickStyle" Target="../diagrams/quickStyle2.xml"/><Relationship Id="rId13" Type="http://schemas.openxmlformats.org/officeDocument/2006/relationships/diagramColors" Target="../diagrams/colors3.xml"/><Relationship Id="rId18" Type="http://schemas.openxmlformats.org/officeDocument/2006/relationships/diagramData" Target="../diagrams/data5.xml"/><Relationship Id="rId26" Type="http://schemas.microsoft.com/office/2007/relationships/diagramDrawing" Target="../diagrams/drawing10.xml"/><Relationship Id="rId3" Type="http://schemas.openxmlformats.org/officeDocument/2006/relationships/diagramLayout" Target="../diagrams/layout1.xml"/><Relationship Id="rId21" Type="http://schemas.openxmlformats.org/officeDocument/2006/relationships/diagramColors" Target="../diagrams/colors5.xml"/><Relationship Id="rId7" Type="http://schemas.openxmlformats.org/officeDocument/2006/relationships/diagramLayout" Target="../diagrams/layout2.xml"/><Relationship Id="rId12" Type="http://schemas.openxmlformats.org/officeDocument/2006/relationships/diagramQuickStyle" Target="../diagrams/quickStyle3.xml"/><Relationship Id="rId17" Type="http://schemas.openxmlformats.org/officeDocument/2006/relationships/diagramColors" Target="../diagrams/colors4.xml"/><Relationship Id="rId25" Type="http://schemas.openxmlformats.org/officeDocument/2006/relationships/diagramColors" Target="../diagrams/colors6.xml"/><Relationship Id="rId2" Type="http://schemas.openxmlformats.org/officeDocument/2006/relationships/diagramData" Target="../diagrams/data1.xml"/><Relationship Id="rId16" Type="http://schemas.openxmlformats.org/officeDocument/2006/relationships/diagramQuickStyle" Target="../diagrams/quickStyle4.xml"/><Relationship Id="rId20" Type="http://schemas.openxmlformats.org/officeDocument/2006/relationships/diagramQuickStyle" Target="../diagrams/quickStyle5.xml"/><Relationship Id="rId29" Type="http://schemas.microsoft.com/office/2007/relationships/diagramDrawing" Target="../diagrams/drawing6.xml"/><Relationship Id="rId1" Type="http://schemas.openxmlformats.org/officeDocument/2006/relationships/slideLayout" Target="../slideLayouts/slideLayout2.xml"/><Relationship Id="rId6" Type="http://schemas.openxmlformats.org/officeDocument/2006/relationships/diagramData" Target="../diagrams/data2.xml"/><Relationship Id="rId11" Type="http://schemas.openxmlformats.org/officeDocument/2006/relationships/diagramLayout" Target="../diagrams/layout3.xml"/><Relationship Id="rId24" Type="http://schemas.openxmlformats.org/officeDocument/2006/relationships/diagramQuickStyle" Target="../diagrams/quickStyle6.xml"/><Relationship Id="rId5" Type="http://schemas.openxmlformats.org/officeDocument/2006/relationships/diagramColors" Target="../diagrams/colors1.xml"/><Relationship Id="rId15" Type="http://schemas.openxmlformats.org/officeDocument/2006/relationships/diagramLayout" Target="../diagrams/layout4.xml"/><Relationship Id="rId23" Type="http://schemas.openxmlformats.org/officeDocument/2006/relationships/diagramLayout" Target="../diagrams/layout6.xml"/><Relationship Id="rId28" Type="http://schemas.microsoft.com/office/2007/relationships/diagramDrawing" Target="../diagrams/drawing8.xml"/><Relationship Id="rId10" Type="http://schemas.openxmlformats.org/officeDocument/2006/relationships/diagramData" Target="../diagrams/data3.xml"/><Relationship Id="rId19" Type="http://schemas.openxmlformats.org/officeDocument/2006/relationships/diagramLayout" Target="../diagrams/layout5.xml"/><Relationship Id="rId31" Type="http://schemas.microsoft.com/office/2007/relationships/diagramDrawing" Target="../diagrams/drawing11.xml"/><Relationship Id="rId4" Type="http://schemas.openxmlformats.org/officeDocument/2006/relationships/diagramQuickStyle" Target="../diagrams/quickStyle1.xml"/><Relationship Id="rId9" Type="http://schemas.openxmlformats.org/officeDocument/2006/relationships/diagramColors" Target="../diagrams/colors2.xml"/><Relationship Id="rId14" Type="http://schemas.openxmlformats.org/officeDocument/2006/relationships/diagramData" Target="../diagrams/data4.xml"/><Relationship Id="rId22" Type="http://schemas.openxmlformats.org/officeDocument/2006/relationships/diagramData" Target="../diagrams/data6.xml"/><Relationship Id="rId27" Type="http://schemas.microsoft.com/office/2007/relationships/diagramDrawing" Target="../diagrams/drawing9.xml"/><Relationship Id="rId30" Type="http://schemas.microsoft.com/office/2007/relationships/diagramDrawing" Target="../diagrams/drawing7.xml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2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6" Type="http://schemas.openxmlformats.org/officeDocument/2006/relationships/chart" Target="../charts/chart1.xml"/><Relationship Id="rId5" Type="http://schemas.openxmlformats.org/officeDocument/2006/relationships/oleObject" Target="../embeddings/oleObject2.bin"/><Relationship Id="rId4" Type="http://schemas.openxmlformats.org/officeDocument/2006/relationships/notesSlide" Target="../notesSlides/notesSlide2.xml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23.png"/><Relationship Id="rId3" Type="http://schemas.openxmlformats.org/officeDocument/2006/relationships/image" Target="../media/image19.png"/><Relationship Id="rId7" Type="http://schemas.openxmlformats.org/officeDocument/2006/relationships/image" Target="../media/image22.png"/><Relationship Id="rId2" Type="http://schemas.openxmlformats.org/officeDocument/2006/relationships/image" Target="../media/image18.jpeg"/><Relationship Id="rId1" Type="http://schemas.openxmlformats.org/officeDocument/2006/relationships/slideLayout" Target="../slideLayouts/slideLayout1.xml"/><Relationship Id="rId6" Type="http://schemas.openxmlformats.org/officeDocument/2006/relationships/chart" Target="../charts/chart2.xml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13" Type="http://schemas.openxmlformats.org/officeDocument/2006/relationships/image" Target="../media/image34.jpeg"/><Relationship Id="rId18" Type="http://schemas.openxmlformats.org/officeDocument/2006/relationships/image" Target="../media/image39.gif"/><Relationship Id="rId3" Type="http://schemas.openxmlformats.org/officeDocument/2006/relationships/image" Target="../media/image24.jpeg"/><Relationship Id="rId21" Type="http://schemas.openxmlformats.org/officeDocument/2006/relationships/image" Target="../media/image42.png"/><Relationship Id="rId7" Type="http://schemas.openxmlformats.org/officeDocument/2006/relationships/image" Target="../media/image28.jpeg"/><Relationship Id="rId12" Type="http://schemas.openxmlformats.org/officeDocument/2006/relationships/image" Target="../media/image33.jpeg"/><Relationship Id="rId17" Type="http://schemas.openxmlformats.org/officeDocument/2006/relationships/image" Target="../media/image38.jpeg"/><Relationship Id="rId2" Type="http://schemas.openxmlformats.org/officeDocument/2006/relationships/notesSlide" Target="../notesSlides/notesSlide3.xml"/><Relationship Id="rId16" Type="http://schemas.openxmlformats.org/officeDocument/2006/relationships/image" Target="../media/image37.png"/><Relationship Id="rId20" Type="http://schemas.openxmlformats.org/officeDocument/2006/relationships/image" Target="../media/image41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27.jpeg"/><Relationship Id="rId11" Type="http://schemas.openxmlformats.org/officeDocument/2006/relationships/image" Target="../media/image32.jpeg"/><Relationship Id="rId24" Type="http://schemas.openxmlformats.org/officeDocument/2006/relationships/image" Target="../media/image45.png"/><Relationship Id="rId5" Type="http://schemas.openxmlformats.org/officeDocument/2006/relationships/image" Target="../media/image26.jpeg"/><Relationship Id="rId15" Type="http://schemas.openxmlformats.org/officeDocument/2006/relationships/image" Target="../media/image36.png"/><Relationship Id="rId23" Type="http://schemas.openxmlformats.org/officeDocument/2006/relationships/image" Target="../media/image44.png"/><Relationship Id="rId10" Type="http://schemas.openxmlformats.org/officeDocument/2006/relationships/image" Target="../media/image31.png"/><Relationship Id="rId19" Type="http://schemas.openxmlformats.org/officeDocument/2006/relationships/image" Target="../media/image40.jpeg"/><Relationship Id="rId4" Type="http://schemas.openxmlformats.org/officeDocument/2006/relationships/image" Target="../media/image25.jpeg"/><Relationship Id="rId9" Type="http://schemas.openxmlformats.org/officeDocument/2006/relationships/image" Target="../media/image30.jpeg"/><Relationship Id="rId14" Type="http://schemas.openxmlformats.org/officeDocument/2006/relationships/image" Target="../media/image35.jpeg"/><Relationship Id="rId22" Type="http://schemas.openxmlformats.org/officeDocument/2006/relationships/image" Target="../media/image43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4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oogle Shape;55;p15"/>
          <p:cNvGrpSpPr/>
          <p:nvPr/>
        </p:nvGrpSpPr>
        <p:grpSpPr>
          <a:xfrm rot="-2700000">
            <a:off x="6825236" y="3670270"/>
            <a:ext cx="2411896" cy="674533"/>
            <a:chOff x="6913248" y="5262784"/>
            <a:chExt cx="4914893" cy="1295402"/>
          </a:xfrm>
        </p:grpSpPr>
        <p:grpSp>
          <p:nvGrpSpPr>
            <p:cNvPr id="3" name="Google Shape;56;p15"/>
            <p:cNvGrpSpPr/>
            <p:nvPr/>
          </p:nvGrpSpPr>
          <p:grpSpPr>
            <a:xfrm rot="-5400000">
              <a:off x="7499561" y="4676471"/>
              <a:ext cx="1295402" cy="2468028"/>
              <a:chOff x="464266" y="2731227"/>
              <a:chExt cx="970345" cy="1850028"/>
            </a:xfrm>
          </p:grpSpPr>
          <p:sp>
            <p:nvSpPr>
              <p:cNvPr id="57" name="Google Shape;57;p15"/>
              <p:cNvSpPr/>
              <p:nvPr/>
            </p:nvSpPr>
            <p:spPr>
              <a:xfrm>
                <a:off x="464266" y="2731227"/>
                <a:ext cx="485172" cy="474408"/>
              </a:xfrm>
              <a:custGeom>
                <a:avLst/>
                <a:gdLst/>
                <a:ahLst/>
                <a:cxnLst/>
                <a:rect l="l" t="t" r="r" b="b"/>
                <a:pathLst>
                  <a:path w="781050" h="781050" extrusionOk="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solidFill>
                <a:srgbClr val="0187AD"/>
              </a:solidFill>
              <a:ln>
                <a:noFill/>
              </a:ln>
              <a:effectLst>
                <a:outerShdw blurRad="139700" sx="102000" sy="102000" algn="ctr" rotWithShape="0">
                  <a:srgbClr val="000000">
                    <a:alpha val="22745"/>
                  </a:srgb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8" name="Google Shape;58;p15"/>
              <p:cNvSpPr/>
              <p:nvPr/>
            </p:nvSpPr>
            <p:spPr>
              <a:xfrm>
                <a:off x="949438" y="2731227"/>
                <a:ext cx="485172" cy="474408"/>
              </a:xfrm>
              <a:custGeom>
                <a:avLst/>
                <a:gdLst/>
                <a:ahLst/>
                <a:cxnLst/>
                <a:rect l="l" t="t" r="r" b="b"/>
                <a:pathLst>
                  <a:path w="781050" h="781050" extrusionOk="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solidFill>
                <a:srgbClr val="0187AD"/>
              </a:solidFill>
              <a:ln>
                <a:noFill/>
              </a:ln>
              <a:effectLst>
                <a:outerShdw blurRad="139700" sx="102000" sy="102000" algn="ctr" rotWithShape="0">
                  <a:srgbClr val="000000">
                    <a:alpha val="22745"/>
                  </a:srgb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59" name="Google Shape;59;p15"/>
              <p:cNvSpPr/>
              <p:nvPr/>
            </p:nvSpPr>
            <p:spPr>
              <a:xfrm>
                <a:off x="464266" y="3189767"/>
                <a:ext cx="485172" cy="474408"/>
              </a:xfrm>
              <a:custGeom>
                <a:avLst/>
                <a:gdLst/>
                <a:ahLst/>
                <a:cxnLst/>
                <a:rect l="l" t="t" r="r" b="b"/>
                <a:pathLst>
                  <a:path w="781050" h="781050" extrusionOk="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solidFill>
                <a:srgbClr val="0187AD"/>
              </a:solidFill>
              <a:ln>
                <a:noFill/>
              </a:ln>
              <a:effectLst>
                <a:outerShdw blurRad="139700" sx="102000" sy="102000" algn="ctr" rotWithShape="0">
                  <a:srgbClr val="000000">
                    <a:alpha val="22745"/>
                  </a:srgb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60" name="Google Shape;60;p15"/>
              <p:cNvSpPr/>
              <p:nvPr/>
            </p:nvSpPr>
            <p:spPr>
              <a:xfrm>
                <a:off x="949439" y="3189767"/>
                <a:ext cx="485172" cy="474408"/>
              </a:xfrm>
              <a:custGeom>
                <a:avLst/>
                <a:gdLst/>
                <a:ahLst/>
                <a:cxnLst/>
                <a:rect l="l" t="t" r="r" b="b"/>
                <a:pathLst>
                  <a:path w="781050" h="781050" extrusionOk="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solidFill>
                <a:srgbClr val="0187AD"/>
              </a:solidFill>
              <a:ln>
                <a:noFill/>
              </a:ln>
              <a:effectLst>
                <a:outerShdw blurRad="139700" sx="102000" sy="102000" algn="ctr" rotWithShape="0">
                  <a:srgbClr val="000000">
                    <a:alpha val="22745"/>
                  </a:srgb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61" name="Google Shape;61;p15"/>
              <p:cNvSpPr/>
              <p:nvPr/>
            </p:nvSpPr>
            <p:spPr>
              <a:xfrm>
                <a:off x="464266" y="3648308"/>
                <a:ext cx="485172" cy="474407"/>
              </a:xfrm>
              <a:custGeom>
                <a:avLst/>
                <a:gdLst/>
                <a:ahLst/>
                <a:cxnLst/>
                <a:rect l="l" t="t" r="r" b="b"/>
                <a:pathLst>
                  <a:path w="781050" h="781050" extrusionOk="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solidFill>
                <a:srgbClr val="0187AD"/>
              </a:solidFill>
              <a:ln>
                <a:noFill/>
              </a:ln>
              <a:effectLst>
                <a:outerShdw blurRad="139700" sx="102000" sy="102000" algn="ctr" rotWithShape="0">
                  <a:srgbClr val="000000">
                    <a:alpha val="22745"/>
                  </a:srgb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62" name="Google Shape;62;p15"/>
              <p:cNvSpPr/>
              <p:nvPr/>
            </p:nvSpPr>
            <p:spPr>
              <a:xfrm>
                <a:off x="949437" y="3648309"/>
                <a:ext cx="485172" cy="474408"/>
              </a:xfrm>
              <a:custGeom>
                <a:avLst/>
                <a:gdLst/>
                <a:ahLst/>
                <a:cxnLst/>
                <a:rect l="l" t="t" r="r" b="b"/>
                <a:pathLst>
                  <a:path w="781050" h="781050" extrusionOk="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solidFill>
                <a:srgbClr val="0187AD"/>
              </a:solidFill>
              <a:ln>
                <a:noFill/>
              </a:ln>
              <a:effectLst>
                <a:outerShdw blurRad="139700" sx="102000" sy="102000" algn="ctr" rotWithShape="0">
                  <a:srgbClr val="000000">
                    <a:alpha val="22745"/>
                  </a:srgb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63" name="Google Shape;63;p15"/>
              <p:cNvSpPr/>
              <p:nvPr/>
            </p:nvSpPr>
            <p:spPr>
              <a:xfrm>
                <a:off x="464266" y="4106847"/>
                <a:ext cx="485172" cy="474408"/>
              </a:xfrm>
              <a:custGeom>
                <a:avLst/>
                <a:gdLst/>
                <a:ahLst/>
                <a:cxnLst/>
                <a:rect l="l" t="t" r="r" b="b"/>
                <a:pathLst>
                  <a:path w="781050" h="781050" extrusionOk="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solidFill>
                <a:srgbClr val="0187AD"/>
              </a:solidFill>
              <a:ln>
                <a:noFill/>
              </a:ln>
              <a:effectLst>
                <a:outerShdw blurRad="139700" sx="102000" sy="102000" algn="ctr" rotWithShape="0">
                  <a:srgbClr val="000000">
                    <a:alpha val="22745"/>
                  </a:srgb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64" name="Google Shape;64;p15"/>
              <p:cNvSpPr/>
              <p:nvPr/>
            </p:nvSpPr>
            <p:spPr>
              <a:xfrm>
                <a:off x="949437" y="4106846"/>
                <a:ext cx="485172" cy="474408"/>
              </a:xfrm>
              <a:custGeom>
                <a:avLst/>
                <a:gdLst/>
                <a:ahLst/>
                <a:cxnLst/>
                <a:rect l="l" t="t" r="r" b="b"/>
                <a:pathLst>
                  <a:path w="781050" h="781050" extrusionOk="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solidFill>
                <a:srgbClr val="0187AD"/>
              </a:solidFill>
              <a:ln>
                <a:noFill/>
              </a:ln>
              <a:effectLst>
                <a:outerShdw blurRad="139700" sx="102000" sy="102000" algn="ctr" rotWithShape="0">
                  <a:srgbClr val="000000">
                    <a:alpha val="22745"/>
                  </a:srgb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  <p:grpSp>
          <p:nvGrpSpPr>
            <p:cNvPr id="4" name="Google Shape;65;p15"/>
            <p:cNvGrpSpPr/>
            <p:nvPr/>
          </p:nvGrpSpPr>
          <p:grpSpPr>
            <a:xfrm rot="-5400000">
              <a:off x="9946426" y="4676471"/>
              <a:ext cx="1295400" cy="2468030"/>
              <a:chOff x="464266" y="2731226"/>
              <a:chExt cx="970344" cy="1850029"/>
            </a:xfrm>
          </p:grpSpPr>
          <p:sp>
            <p:nvSpPr>
              <p:cNvPr id="66" name="Google Shape;66;p15"/>
              <p:cNvSpPr/>
              <p:nvPr/>
            </p:nvSpPr>
            <p:spPr>
              <a:xfrm>
                <a:off x="464266" y="2731226"/>
                <a:ext cx="485172" cy="474407"/>
              </a:xfrm>
              <a:custGeom>
                <a:avLst/>
                <a:gdLst/>
                <a:ahLst/>
                <a:cxnLst/>
                <a:rect l="l" t="t" r="r" b="b"/>
                <a:pathLst>
                  <a:path w="781050" h="781050" extrusionOk="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solidFill>
                <a:srgbClr val="0187AD"/>
              </a:solidFill>
              <a:ln>
                <a:noFill/>
              </a:ln>
              <a:effectLst>
                <a:outerShdw blurRad="139700" sx="102000" sy="102000" algn="ctr" rotWithShape="0">
                  <a:srgbClr val="000000">
                    <a:alpha val="22745"/>
                  </a:srgb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67" name="Google Shape;67;p15"/>
              <p:cNvSpPr/>
              <p:nvPr/>
            </p:nvSpPr>
            <p:spPr>
              <a:xfrm>
                <a:off x="949438" y="2731227"/>
                <a:ext cx="485172" cy="474407"/>
              </a:xfrm>
              <a:custGeom>
                <a:avLst/>
                <a:gdLst/>
                <a:ahLst/>
                <a:cxnLst/>
                <a:rect l="l" t="t" r="r" b="b"/>
                <a:pathLst>
                  <a:path w="781050" h="781050" extrusionOk="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solidFill>
                <a:srgbClr val="0187AD"/>
              </a:solidFill>
              <a:ln>
                <a:noFill/>
              </a:ln>
              <a:effectLst>
                <a:outerShdw blurRad="139700" sx="102000" sy="102000" algn="ctr" rotWithShape="0">
                  <a:srgbClr val="000000">
                    <a:alpha val="22745"/>
                  </a:srgb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68" name="Google Shape;68;p15"/>
              <p:cNvSpPr/>
              <p:nvPr/>
            </p:nvSpPr>
            <p:spPr>
              <a:xfrm>
                <a:off x="464266" y="3189766"/>
                <a:ext cx="485172" cy="474408"/>
              </a:xfrm>
              <a:custGeom>
                <a:avLst/>
                <a:gdLst/>
                <a:ahLst/>
                <a:cxnLst/>
                <a:rect l="l" t="t" r="r" b="b"/>
                <a:pathLst>
                  <a:path w="781050" h="781050" extrusionOk="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solidFill>
                <a:srgbClr val="0187AD"/>
              </a:solidFill>
              <a:ln>
                <a:noFill/>
              </a:ln>
              <a:effectLst>
                <a:outerShdw blurRad="139700" sx="102000" sy="102000" algn="ctr" rotWithShape="0">
                  <a:srgbClr val="000000">
                    <a:alpha val="22745"/>
                  </a:srgb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69" name="Google Shape;69;p15"/>
              <p:cNvSpPr/>
              <p:nvPr/>
            </p:nvSpPr>
            <p:spPr>
              <a:xfrm>
                <a:off x="949438" y="3189767"/>
                <a:ext cx="485172" cy="474408"/>
              </a:xfrm>
              <a:custGeom>
                <a:avLst/>
                <a:gdLst/>
                <a:ahLst/>
                <a:cxnLst/>
                <a:rect l="l" t="t" r="r" b="b"/>
                <a:pathLst>
                  <a:path w="781050" h="781050" extrusionOk="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solidFill>
                <a:srgbClr val="0187AD"/>
              </a:solidFill>
              <a:ln>
                <a:noFill/>
              </a:ln>
              <a:effectLst>
                <a:outerShdw blurRad="139700" sx="102000" sy="102000" algn="ctr" rotWithShape="0">
                  <a:srgbClr val="000000">
                    <a:alpha val="22745"/>
                  </a:srgb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0" name="Google Shape;70;p15"/>
              <p:cNvSpPr/>
              <p:nvPr/>
            </p:nvSpPr>
            <p:spPr>
              <a:xfrm>
                <a:off x="464266" y="3648309"/>
                <a:ext cx="485172" cy="474407"/>
              </a:xfrm>
              <a:custGeom>
                <a:avLst/>
                <a:gdLst/>
                <a:ahLst/>
                <a:cxnLst/>
                <a:rect l="l" t="t" r="r" b="b"/>
                <a:pathLst>
                  <a:path w="781050" h="781050" extrusionOk="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solidFill>
                <a:srgbClr val="0187AD"/>
              </a:solidFill>
              <a:ln>
                <a:noFill/>
              </a:ln>
              <a:effectLst>
                <a:outerShdw blurRad="139700" sx="102000" sy="102000" algn="ctr" rotWithShape="0">
                  <a:srgbClr val="000000">
                    <a:alpha val="22745"/>
                  </a:srgb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1" name="Google Shape;71;p15"/>
              <p:cNvSpPr/>
              <p:nvPr/>
            </p:nvSpPr>
            <p:spPr>
              <a:xfrm>
                <a:off x="949438" y="3648309"/>
                <a:ext cx="485172" cy="474408"/>
              </a:xfrm>
              <a:custGeom>
                <a:avLst/>
                <a:gdLst/>
                <a:ahLst/>
                <a:cxnLst/>
                <a:rect l="l" t="t" r="r" b="b"/>
                <a:pathLst>
                  <a:path w="781050" h="781050" extrusionOk="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solidFill>
                <a:srgbClr val="0187AD"/>
              </a:solidFill>
              <a:ln>
                <a:noFill/>
              </a:ln>
              <a:effectLst>
                <a:outerShdw blurRad="139700" sx="102000" sy="102000" algn="ctr" rotWithShape="0">
                  <a:srgbClr val="000000">
                    <a:alpha val="22745"/>
                  </a:srgb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2" name="Google Shape;72;p15"/>
              <p:cNvSpPr/>
              <p:nvPr/>
            </p:nvSpPr>
            <p:spPr>
              <a:xfrm>
                <a:off x="464266" y="4106847"/>
                <a:ext cx="485172" cy="474408"/>
              </a:xfrm>
              <a:custGeom>
                <a:avLst/>
                <a:gdLst/>
                <a:ahLst/>
                <a:cxnLst/>
                <a:rect l="l" t="t" r="r" b="b"/>
                <a:pathLst>
                  <a:path w="781050" h="781050" extrusionOk="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solidFill>
                <a:srgbClr val="0187AD"/>
              </a:solidFill>
              <a:ln>
                <a:noFill/>
              </a:ln>
              <a:effectLst>
                <a:outerShdw blurRad="139700" sx="102000" sy="102000" algn="ctr" rotWithShape="0">
                  <a:srgbClr val="000000">
                    <a:alpha val="22745"/>
                  </a:srgb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  <p:sp>
            <p:nvSpPr>
              <p:cNvPr id="73" name="Google Shape;73;p15"/>
              <p:cNvSpPr/>
              <p:nvPr/>
            </p:nvSpPr>
            <p:spPr>
              <a:xfrm>
                <a:off x="949437" y="4106846"/>
                <a:ext cx="485172" cy="474408"/>
              </a:xfrm>
              <a:custGeom>
                <a:avLst/>
                <a:gdLst/>
                <a:ahLst/>
                <a:cxnLst/>
                <a:rect l="l" t="t" r="r" b="b"/>
                <a:pathLst>
                  <a:path w="781050" h="781050" extrusionOk="0">
                    <a:moveTo>
                      <a:pt x="374047" y="392716"/>
                    </a:moveTo>
                    <a:cubicBezTo>
                      <a:pt x="324517" y="338900"/>
                      <a:pt x="313563" y="350901"/>
                      <a:pt x="278130" y="366617"/>
                    </a:cubicBezTo>
                    <a:cubicBezTo>
                      <a:pt x="292799" y="333947"/>
                      <a:pt x="288703" y="322802"/>
                      <a:pt x="260604" y="295561"/>
                    </a:cubicBezTo>
                    <a:cubicBezTo>
                      <a:pt x="258318" y="328898"/>
                      <a:pt x="233934" y="346615"/>
                      <a:pt x="200597" y="336709"/>
                    </a:cubicBezTo>
                    <a:cubicBezTo>
                      <a:pt x="215741" y="327850"/>
                      <a:pt x="223838" y="315563"/>
                      <a:pt x="226028" y="301847"/>
                    </a:cubicBezTo>
                    <a:cubicBezTo>
                      <a:pt x="229743" y="278702"/>
                      <a:pt x="216884" y="251269"/>
                      <a:pt x="193643" y="228600"/>
                    </a:cubicBezTo>
                    <a:cubicBezTo>
                      <a:pt x="159734" y="195453"/>
                      <a:pt x="115253" y="193548"/>
                      <a:pt x="91726" y="218313"/>
                    </a:cubicBezTo>
                    <a:cubicBezTo>
                      <a:pt x="70485" y="240697"/>
                      <a:pt x="75248" y="264795"/>
                      <a:pt x="95155" y="285369"/>
                    </a:cubicBezTo>
                    <a:cubicBezTo>
                      <a:pt x="110966" y="301752"/>
                      <a:pt x="131921" y="300038"/>
                      <a:pt x="141637" y="291275"/>
                    </a:cubicBezTo>
                    <a:cubicBezTo>
                      <a:pt x="146114" y="287179"/>
                      <a:pt x="154210" y="279654"/>
                      <a:pt x="150019" y="267367"/>
                    </a:cubicBezTo>
                    <a:cubicBezTo>
                      <a:pt x="142875" y="246412"/>
                      <a:pt x="161258" y="247745"/>
                      <a:pt x="169831" y="266033"/>
                    </a:cubicBezTo>
                    <a:cubicBezTo>
                      <a:pt x="177260" y="281940"/>
                      <a:pt x="169450" y="298704"/>
                      <a:pt x="160020" y="307181"/>
                    </a:cubicBezTo>
                    <a:cubicBezTo>
                      <a:pt x="141542" y="323469"/>
                      <a:pt x="108966" y="328994"/>
                      <a:pt x="80010" y="299752"/>
                    </a:cubicBezTo>
                    <a:cubicBezTo>
                      <a:pt x="54578" y="274034"/>
                      <a:pt x="43815" y="236982"/>
                      <a:pt x="75438" y="202787"/>
                    </a:cubicBezTo>
                    <a:cubicBezTo>
                      <a:pt x="94298" y="182404"/>
                      <a:pt x="114872" y="173546"/>
                      <a:pt x="139351" y="174974"/>
                    </a:cubicBezTo>
                    <a:cubicBezTo>
                      <a:pt x="117158" y="152305"/>
                      <a:pt x="105442" y="136874"/>
                      <a:pt x="81820" y="137732"/>
                    </a:cubicBezTo>
                    <a:cubicBezTo>
                      <a:pt x="57912" y="138589"/>
                      <a:pt x="46006" y="139637"/>
                      <a:pt x="30671" y="121253"/>
                    </a:cubicBezTo>
                    <a:cubicBezTo>
                      <a:pt x="42101" y="108299"/>
                      <a:pt x="60484" y="107918"/>
                      <a:pt x="76867" y="109823"/>
                    </a:cubicBezTo>
                    <a:cubicBezTo>
                      <a:pt x="38767" y="90869"/>
                      <a:pt x="9906" y="49911"/>
                      <a:pt x="9620" y="7144"/>
                    </a:cubicBezTo>
                    <a:cubicBezTo>
                      <a:pt x="52388" y="7430"/>
                      <a:pt x="93345" y="36290"/>
                      <a:pt x="112014" y="74200"/>
                    </a:cubicBezTo>
                    <a:cubicBezTo>
                      <a:pt x="110109" y="57817"/>
                      <a:pt x="110490" y="39338"/>
                      <a:pt x="123444" y="28004"/>
                    </a:cubicBezTo>
                    <a:cubicBezTo>
                      <a:pt x="141827" y="43434"/>
                      <a:pt x="140780" y="55340"/>
                      <a:pt x="139922" y="79248"/>
                    </a:cubicBezTo>
                    <a:cubicBezTo>
                      <a:pt x="139065" y="102870"/>
                      <a:pt x="154496" y="114586"/>
                      <a:pt x="177165" y="136779"/>
                    </a:cubicBezTo>
                    <a:cubicBezTo>
                      <a:pt x="175736" y="112300"/>
                      <a:pt x="184499" y="91726"/>
                      <a:pt x="204978" y="72866"/>
                    </a:cubicBezTo>
                    <a:cubicBezTo>
                      <a:pt x="239173" y="41339"/>
                      <a:pt x="276225" y="52007"/>
                      <a:pt x="301943" y="77438"/>
                    </a:cubicBezTo>
                    <a:cubicBezTo>
                      <a:pt x="331089" y="106394"/>
                      <a:pt x="325660" y="138970"/>
                      <a:pt x="309372" y="157353"/>
                    </a:cubicBezTo>
                    <a:cubicBezTo>
                      <a:pt x="300990" y="166878"/>
                      <a:pt x="284131" y="174689"/>
                      <a:pt x="268224" y="167164"/>
                    </a:cubicBezTo>
                    <a:cubicBezTo>
                      <a:pt x="249841" y="158591"/>
                      <a:pt x="248507" y="140208"/>
                      <a:pt x="269558" y="147352"/>
                    </a:cubicBezTo>
                    <a:cubicBezTo>
                      <a:pt x="281845" y="151543"/>
                      <a:pt x="289370" y="143447"/>
                      <a:pt x="293465" y="138970"/>
                    </a:cubicBezTo>
                    <a:cubicBezTo>
                      <a:pt x="302228" y="129350"/>
                      <a:pt x="303943" y="108395"/>
                      <a:pt x="287560" y="92488"/>
                    </a:cubicBezTo>
                    <a:cubicBezTo>
                      <a:pt x="267081" y="72581"/>
                      <a:pt x="242983" y="67818"/>
                      <a:pt x="220504" y="89059"/>
                    </a:cubicBezTo>
                    <a:cubicBezTo>
                      <a:pt x="195739" y="112586"/>
                      <a:pt x="197644" y="157067"/>
                      <a:pt x="230791" y="190976"/>
                    </a:cubicBezTo>
                    <a:cubicBezTo>
                      <a:pt x="253460" y="214122"/>
                      <a:pt x="280892" y="226981"/>
                      <a:pt x="304038" y="223266"/>
                    </a:cubicBezTo>
                    <a:cubicBezTo>
                      <a:pt x="317754" y="221075"/>
                      <a:pt x="330041" y="213074"/>
                      <a:pt x="338900" y="197930"/>
                    </a:cubicBezTo>
                    <a:cubicBezTo>
                      <a:pt x="348901" y="231267"/>
                      <a:pt x="331089" y="255651"/>
                      <a:pt x="297752" y="257937"/>
                    </a:cubicBezTo>
                    <a:cubicBezTo>
                      <a:pt x="324993" y="286036"/>
                      <a:pt x="336137" y="290132"/>
                      <a:pt x="368808" y="275463"/>
                    </a:cubicBezTo>
                    <a:cubicBezTo>
                      <a:pt x="353092" y="310991"/>
                      <a:pt x="341090" y="321850"/>
                      <a:pt x="394907" y="373856"/>
                    </a:cubicBezTo>
                    <a:cubicBezTo>
                      <a:pt x="448723" y="324326"/>
                      <a:pt x="436721" y="313468"/>
                      <a:pt x="421005" y="277940"/>
                    </a:cubicBezTo>
                    <a:cubicBezTo>
                      <a:pt x="453676" y="292608"/>
                      <a:pt x="464820" y="288512"/>
                      <a:pt x="492062" y="260414"/>
                    </a:cubicBezTo>
                    <a:cubicBezTo>
                      <a:pt x="458819" y="258128"/>
                      <a:pt x="441008" y="233744"/>
                      <a:pt x="450914" y="200406"/>
                    </a:cubicBezTo>
                    <a:cubicBezTo>
                      <a:pt x="459772" y="215551"/>
                      <a:pt x="472059" y="223552"/>
                      <a:pt x="485775" y="225838"/>
                    </a:cubicBezTo>
                    <a:cubicBezTo>
                      <a:pt x="508921" y="229553"/>
                      <a:pt x="536353" y="216694"/>
                      <a:pt x="559022" y="193548"/>
                    </a:cubicBezTo>
                    <a:cubicBezTo>
                      <a:pt x="592169" y="159639"/>
                      <a:pt x="594074" y="115157"/>
                      <a:pt x="569309" y="91631"/>
                    </a:cubicBezTo>
                    <a:cubicBezTo>
                      <a:pt x="546926" y="70390"/>
                      <a:pt x="522827" y="75152"/>
                      <a:pt x="502253" y="95059"/>
                    </a:cubicBezTo>
                    <a:cubicBezTo>
                      <a:pt x="485870" y="110966"/>
                      <a:pt x="487585" y="131826"/>
                      <a:pt x="496348" y="141542"/>
                    </a:cubicBezTo>
                    <a:cubicBezTo>
                      <a:pt x="500444" y="146018"/>
                      <a:pt x="507968" y="154115"/>
                      <a:pt x="520256" y="149924"/>
                    </a:cubicBezTo>
                    <a:cubicBezTo>
                      <a:pt x="541211" y="142780"/>
                      <a:pt x="539877" y="161163"/>
                      <a:pt x="521589" y="169736"/>
                    </a:cubicBezTo>
                    <a:cubicBezTo>
                      <a:pt x="505682" y="177165"/>
                      <a:pt x="488918" y="169355"/>
                      <a:pt x="480441" y="159925"/>
                    </a:cubicBezTo>
                    <a:cubicBezTo>
                      <a:pt x="464153" y="141446"/>
                      <a:pt x="458629" y="108871"/>
                      <a:pt x="487871" y="79915"/>
                    </a:cubicBezTo>
                    <a:cubicBezTo>
                      <a:pt x="513588" y="54483"/>
                      <a:pt x="550640" y="43720"/>
                      <a:pt x="584835" y="75343"/>
                    </a:cubicBezTo>
                    <a:cubicBezTo>
                      <a:pt x="605219" y="94202"/>
                      <a:pt x="614077" y="114776"/>
                      <a:pt x="612648" y="139160"/>
                    </a:cubicBezTo>
                    <a:cubicBezTo>
                      <a:pt x="635413" y="116967"/>
                      <a:pt x="650748" y="105251"/>
                      <a:pt x="649891" y="81629"/>
                    </a:cubicBezTo>
                    <a:cubicBezTo>
                      <a:pt x="649034" y="57722"/>
                      <a:pt x="647986" y="45815"/>
                      <a:pt x="666369" y="30385"/>
                    </a:cubicBezTo>
                    <a:cubicBezTo>
                      <a:pt x="679323" y="41815"/>
                      <a:pt x="679704" y="60198"/>
                      <a:pt x="677799" y="76581"/>
                    </a:cubicBezTo>
                    <a:cubicBezTo>
                      <a:pt x="696468" y="38672"/>
                      <a:pt x="737426" y="9811"/>
                      <a:pt x="780193" y="9525"/>
                    </a:cubicBezTo>
                    <a:cubicBezTo>
                      <a:pt x="779907" y="52292"/>
                      <a:pt x="751046" y="93250"/>
                      <a:pt x="713137" y="111919"/>
                    </a:cubicBezTo>
                    <a:cubicBezTo>
                      <a:pt x="729520" y="110014"/>
                      <a:pt x="747903" y="110395"/>
                      <a:pt x="759333" y="123349"/>
                    </a:cubicBezTo>
                    <a:cubicBezTo>
                      <a:pt x="743903" y="141732"/>
                      <a:pt x="731996" y="140684"/>
                      <a:pt x="708184" y="139827"/>
                    </a:cubicBezTo>
                    <a:cubicBezTo>
                      <a:pt x="684562" y="138970"/>
                      <a:pt x="672846" y="154400"/>
                      <a:pt x="650653" y="177070"/>
                    </a:cubicBezTo>
                    <a:cubicBezTo>
                      <a:pt x="675132" y="175546"/>
                      <a:pt x="695706" y="184404"/>
                      <a:pt x="714565" y="204883"/>
                    </a:cubicBezTo>
                    <a:cubicBezTo>
                      <a:pt x="746093" y="239078"/>
                      <a:pt x="735425" y="276130"/>
                      <a:pt x="709994" y="301847"/>
                    </a:cubicBezTo>
                    <a:cubicBezTo>
                      <a:pt x="681038" y="330994"/>
                      <a:pt x="648462" y="325565"/>
                      <a:pt x="630079" y="309277"/>
                    </a:cubicBezTo>
                    <a:cubicBezTo>
                      <a:pt x="620554" y="300895"/>
                      <a:pt x="612743" y="284036"/>
                      <a:pt x="620268" y="268129"/>
                    </a:cubicBezTo>
                    <a:cubicBezTo>
                      <a:pt x="628840" y="249746"/>
                      <a:pt x="647224" y="248412"/>
                      <a:pt x="640080" y="269462"/>
                    </a:cubicBezTo>
                    <a:cubicBezTo>
                      <a:pt x="635889" y="281750"/>
                      <a:pt x="643985" y="289274"/>
                      <a:pt x="648462" y="293370"/>
                    </a:cubicBezTo>
                    <a:cubicBezTo>
                      <a:pt x="658082" y="302133"/>
                      <a:pt x="679037" y="303848"/>
                      <a:pt x="694944" y="287465"/>
                    </a:cubicBezTo>
                    <a:cubicBezTo>
                      <a:pt x="714851" y="266986"/>
                      <a:pt x="719614" y="242888"/>
                      <a:pt x="698373" y="220409"/>
                    </a:cubicBezTo>
                    <a:cubicBezTo>
                      <a:pt x="674846" y="195644"/>
                      <a:pt x="630365" y="197549"/>
                      <a:pt x="596456" y="230696"/>
                    </a:cubicBezTo>
                    <a:cubicBezTo>
                      <a:pt x="573310" y="253365"/>
                      <a:pt x="560451" y="280797"/>
                      <a:pt x="564166" y="303943"/>
                    </a:cubicBezTo>
                    <a:cubicBezTo>
                      <a:pt x="566357" y="317659"/>
                      <a:pt x="574358" y="329946"/>
                      <a:pt x="589598" y="338804"/>
                    </a:cubicBezTo>
                    <a:cubicBezTo>
                      <a:pt x="556260" y="348806"/>
                      <a:pt x="531876" y="330994"/>
                      <a:pt x="529590" y="297656"/>
                    </a:cubicBezTo>
                    <a:cubicBezTo>
                      <a:pt x="501491" y="324898"/>
                      <a:pt x="497396" y="336042"/>
                      <a:pt x="512064" y="368713"/>
                    </a:cubicBezTo>
                    <a:cubicBezTo>
                      <a:pt x="476536" y="352997"/>
                      <a:pt x="465677" y="340995"/>
                      <a:pt x="413671" y="394811"/>
                    </a:cubicBezTo>
                    <a:cubicBezTo>
                      <a:pt x="463201" y="448628"/>
                      <a:pt x="474155" y="436626"/>
                      <a:pt x="509588" y="420910"/>
                    </a:cubicBezTo>
                    <a:cubicBezTo>
                      <a:pt x="494919" y="453581"/>
                      <a:pt x="499015" y="464725"/>
                      <a:pt x="527114" y="491966"/>
                    </a:cubicBezTo>
                    <a:cubicBezTo>
                      <a:pt x="529400" y="458724"/>
                      <a:pt x="553784" y="440912"/>
                      <a:pt x="587216" y="450818"/>
                    </a:cubicBezTo>
                    <a:cubicBezTo>
                      <a:pt x="572072" y="459676"/>
                      <a:pt x="563975" y="471964"/>
                      <a:pt x="561785" y="485680"/>
                    </a:cubicBezTo>
                    <a:cubicBezTo>
                      <a:pt x="558070" y="508825"/>
                      <a:pt x="570929" y="536258"/>
                      <a:pt x="594170" y="558927"/>
                    </a:cubicBezTo>
                    <a:cubicBezTo>
                      <a:pt x="628079" y="592074"/>
                      <a:pt x="672560" y="593979"/>
                      <a:pt x="696087" y="569214"/>
                    </a:cubicBezTo>
                    <a:cubicBezTo>
                      <a:pt x="717328" y="546830"/>
                      <a:pt x="712565" y="522732"/>
                      <a:pt x="692658" y="502158"/>
                    </a:cubicBezTo>
                    <a:cubicBezTo>
                      <a:pt x="676751" y="485775"/>
                      <a:pt x="655892" y="487490"/>
                      <a:pt x="646176" y="496253"/>
                    </a:cubicBezTo>
                    <a:cubicBezTo>
                      <a:pt x="641699" y="500348"/>
                      <a:pt x="633603" y="507873"/>
                      <a:pt x="637794" y="520160"/>
                    </a:cubicBezTo>
                    <a:cubicBezTo>
                      <a:pt x="644938" y="541115"/>
                      <a:pt x="626555" y="539782"/>
                      <a:pt x="617982" y="521494"/>
                    </a:cubicBezTo>
                    <a:cubicBezTo>
                      <a:pt x="610553" y="505587"/>
                      <a:pt x="618363" y="488823"/>
                      <a:pt x="627793" y="480346"/>
                    </a:cubicBezTo>
                    <a:cubicBezTo>
                      <a:pt x="646271" y="464058"/>
                      <a:pt x="678847" y="458534"/>
                      <a:pt x="707803" y="487680"/>
                    </a:cubicBezTo>
                    <a:cubicBezTo>
                      <a:pt x="733235" y="513398"/>
                      <a:pt x="743998" y="550450"/>
                      <a:pt x="712375" y="584645"/>
                    </a:cubicBezTo>
                    <a:cubicBezTo>
                      <a:pt x="693515" y="605028"/>
                      <a:pt x="672941" y="613886"/>
                      <a:pt x="648462" y="612458"/>
                    </a:cubicBezTo>
                    <a:cubicBezTo>
                      <a:pt x="670655" y="635127"/>
                      <a:pt x="682371" y="650558"/>
                      <a:pt x="705993" y="649700"/>
                    </a:cubicBezTo>
                    <a:cubicBezTo>
                      <a:pt x="729901" y="648843"/>
                      <a:pt x="741807" y="647795"/>
                      <a:pt x="757142" y="666179"/>
                    </a:cubicBezTo>
                    <a:cubicBezTo>
                      <a:pt x="745712" y="679133"/>
                      <a:pt x="727329" y="679513"/>
                      <a:pt x="710946" y="677704"/>
                    </a:cubicBezTo>
                    <a:cubicBezTo>
                      <a:pt x="748856" y="696373"/>
                      <a:pt x="777716" y="737330"/>
                      <a:pt x="778002" y="780098"/>
                    </a:cubicBezTo>
                    <a:cubicBezTo>
                      <a:pt x="735235" y="779812"/>
                      <a:pt x="694277" y="750951"/>
                      <a:pt x="675608" y="713042"/>
                    </a:cubicBezTo>
                    <a:cubicBezTo>
                      <a:pt x="677513" y="729425"/>
                      <a:pt x="677132" y="747903"/>
                      <a:pt x="664178" y="759238"/>
                    </a:cubicBezTo>
                    <a:cubicBezTo>
                      <a:pt x="645795" y="743807"/>
                      <a:pt x="646843" y="731901"/>
                      <a:pt x="647700" y="708088"/>
                    </a:cubicBezTo>
                    <a:cubicBezTo>
                      <a:pt x="648557" y="684467"/>
                      <a:pt x="633127" y="672751"/>
                      <a:pt x="610457" y="650558"/>
                    </a:cubicBezTo>
                    <a:cubicBezTo>
                      <a:pt x="611886" y="675037"/>
                      <a:pt x="603123" y="695611"/>
                      <a:pt x="582644" y="714470"/>
                    </a:cubicBezTo>
                    <a:cubicBezTo>
                      <a:pt x="548450" y="745998"/>
                      <a:pt x="511397" y="735330"/>
                      <a:pt x="485680" y="709898"/>
                    </a:cubicBezTo>
                    <a:cubicBezTo>
                      <a:pt x="456533" y="680942"/>
                      <a:pt x="461963" y="648367"/>
                      <a:pt x="478346" y="629984"/>
                    </a:cubicBezTo>
                    <a:cubicBezTo>
                      <a:pt x="486728" y="620459"/>
                      <a:pt x="503587" y="612648"/>
                      <a:pt x="519494" y="620078"/>
                    </a:cubicBezTo>
                    <a:cubicBezTo>
                      <a:pt x="537877" y="628745"/>
                      <a:pt x="539210" y="647033"/>
                      <a:pt x="518160" y="639890"/>
                    </a:cubicBezTo>
                    <a:cubicBezTo>
                      <a:pt x="505873" y="635699"/>
                      <a:pt x="498348" y="643795"/>
                      <a:pt x="494252" y="648272"/>
                    </a:cubicBezTo>
                    <a:cubicBezTo>
                      <a:pt x="485489" y="657892"/>
                      <a:pt x="483775" y="678847"/>
                      <a:pt x="500158" y="694754"/>
                    </a:cubicBezTo>
                    <a:cubicBezTo>
                      <a:pt x="520637" y="714661"/>
                      <a:pt x="544735" y="719423"/>
                      <a:pt x="567214" y="698183"/>
                    </a:cubicBezTo>
                    <a:cubicBezTo>
                      <a:pt x="591979" y="674656"/>
                      <a:pt x="590074" y="630174"/>
                      <a:pt x="556927" y="596265"/>
                    </a:cubicBezTo>
                    <a:cubicBezTo>
                      <a:pt x="534257" y="573119"/>
                      <a:pt x="506825" y="560261"/>
                      <a:pt x="483680" y="563975"/>
                    </a:cubicBezTo>
                    <a:cubicBezTo>
                      <a:pt x="469964" y="566166"/>
                      <a:pt x="457676" y="574167"/>
                      <a:pt x="448818" y="589407"/>
                    </a:cubicBezTo>
                    <a:cubicBezTo>
                      <a:pt x="438817" y="556070"/>
                      <a:pt x="456629" y="531686"/>
                      <a:pt x="489966" y="529400"/>
                    </a:cubicBezTo>
                    <a:cubicBezTo>
                      <a:pt x="462725" y="501301"/>
                      <a:pt x="451580" y="497205"/>
                      <a:pt x="418910" y="511874"/>
                    </a:cubicBezTo>
                    <a:cubicBezTo>
                      <a:pt x="434626" y="476345"/>
                      <a:pt x="446627" y="465487"/>
                      <a:pt x="392811" y="413480"/>
                    </a:cubicBezTo>
                    <a:cubicBezTo>
                      <a:pt x="338995" y="463010"/>
                      <a:pt x="350996" y="473964"/>
                      <a:pt x="366713" y="509397"/>
                    </a:cubicBezTo>
                    <a:cubicBezTo>
                      <a:pt x="334042" y="494729"/>
                      <a:pt x="322898" y="498824"/>
                      <a:pt x="295656" y="526923"/>
                    </a:cubicBezTo>
                    <a:cubicBezTo>
                      <a:pt x="328898" y="529209"/>
                      <a:pt x="346710" y="553593"/>
                      <a:pt x="336804" y="586931"/>
                    </a:cubicBezTo>
                    <a:cubicBezTo>
                      <a:pt x="327946" y="571786"/>
                      <a:pt x="315659" y="563690"/>
                      <a:pt x="301943" y="561499"/>
                    </a:cubicBezTo>
                    <a:cubicBezTo>
                      <a:pt x="278797" y="557784"/>
                      <a:pt x="251365" y="570643"/>
                      <a:pt x="228695" y="593789"/>
                    </a:cubicBezTo>
                    <a:cubicBezTo>
                      <a:pt x="195548" y="627698"/>
                      <a:pt x="193643" y="672179"/>
                      <a:pt x="218408" y="695706"/>
                    </a:cubicBezTo>
                    <a:cubicBezTo>
                      <a:pt x="240792" y="716947"/>
                      <a:pt x="264890" y="712184"/>
                      <a:pt x="285464" y="692277"/>
                    </a:cubicBezTo>
                    <a:cubicBezTo>
                      <a:pt x="301847" y="676370"/>
                      <a:pt x="300133" y="655415"/>
                      <a:pt x="291370" y="645795"/>
                    </a:cubicBezTo>
                    <a:cubicBezTo>
                      <a:pt x="287274" y="641318"/>
                      <a:pt x="279749" y="633222"/>
                      <a:pt x="267462" y="637413"/>
                    </a:cubicBezTo>
                    <a:cubicBezTo>
                      <a:pt x="246507" y="644557"/>
                      <a:pt x="247841" y="626174"/>
                      <a:pt x="266129" y="617601"/>
                    </a:cubicBezTo>
                    <a:cubicBezTo>
                      <a:pt x="282035" y="610172"/>
                      <a:pt x="298799" y="617982"/>
                      <a:pt x="307277" y="627412"/>
                    </a:cubicBezTo>
                    <a:cubicBezTo>
                      <a:pt x="323564" y="645890"/>
                      <a:pt x="329089" y="678466"/>
                      <a:pt x="299847" y="707327"/>
                    </a:cubicBezTo>
                    <a:cubicBezTo>
                      <a:pt x="274130" y="732758"/>
                      <a:pt x="237077" y="743522"/>
                      <a:pt x="202883" y="711899"/>
                    </a:cubicBezTo>
                    <a:cubicBezTo>
                      <a:pt x="182499" y="693039"/>
                      <a:pt x="173641" y="672465"/>
                      <a:pt x="175069" y="648081"/>
                    </a:cubicBezTo>
                    <a:cubicBezTo>
                      <a:pt x="152400" y="670274"/>
                      <a:pt x="136970" y="681990"/>
                      <a:pt x="137827" y="705612"/>
                    </a:cubicBezTo>
                    <a:cubicBezTo>
                      <a:pt x="138684" y="729520"/>
                      <a:pt x="139732" y="741426"/>
                      <a:pt x="121349" y="756857"/>
                    </a:cubicBezTo>
                    <a:cubicBezTo>
                      <a:pt x="108395" y="745427"/>
                      <a:pt x="108014" y="727043"/>
                      <a:pt x="109919" y="710660"/>
                    </a:cubicBezTo>
                    <a:cubicBezTo>
                      <a:pt x="90869" y="749046"/>
                      <a:pt x="49911" y="777907"/>
                      <a:pt x="7144" y="778193"/>
                    </a:cubicBezTo>
                    <a:cubicBezTo>
                      <a:pt x="7430" y="735425"/>
                      <a:pt x="36290" y="694468"/>
                      <a:pt x="74200" y="675799"/>
                    </a:cubicBezTo>
                    <a:cubicBezTo>
                      <a:pt x="57817" y="677704"/>
                      <a:pt x="39338" y="677323"/>
                      <a:pt x="28004" y="664369"/>
                    </a:cubicBezTo>
                    <a:cubicBezTo>
                      <a:pt x="43434" y="645986"/>
                      <a:pt x="55340" y="647033"/>
                      <a:pt x="79248" y="647890"/>
                    </a:cubicBezTo>
                    <a:cubicBezTo>
                      <a:pt x="102870" y="648748"/>
                      <a:pt x="114586" y="633317"/>
                      <a:pt x="136779" y="610648"/>
                    </a:cubicBezTo>
                    <a:cubicBezTo>
                      <a:pt x="112300" y="612077"/>
                      <a:pt x="91726" y="603314"/>
                      <a:pt x="72962" y="582835"/>
                    </a:cubicBezTo>
                    <a:cubicBezTo>
                      <a:pt x="41434" y="548640"/>
                      <a:pt x="52102" y="511588"/>
                      <a:pt x="77534" y="485870"/>
                    </a:cubicBezTo>
                    <a:cubicBezTo>
                      <a:pt x="106490" y="456724"/>
                      <a:pt x="139065" y="462153"/>
                      <a:pt x="157544" y="478441"/>
                    </a:cubicBezTo>
                    <a:cubicBezTo>
                      <a:pt x="167069" y="486823"/>
                      <a:pt x="174879" y="503682"/>
                      <a:pt x="167354" y="519589"/>
                    </a:cubicBezTo>
                    <a:cubicBezTo>
                      <a:pt x="158782" y="537972"/>
                      <a:pt x="140399" y="539306"/>
                      <a:pt x="147542" y="518255"/>
                    </a:cubicBezTo>
                    <a:cubicBezTo>
                      <a:pt x="151733" y="505968"/>
                      <a:pt x="143637" y="498443"/>
                      <a:pt x="139160" y="494348"/>
                    </a:cubicBezTo>
                    <a:cubicBezTo>
                      <a:pt x="129540" y="485585"/>
                      <a:pt x="108585" y="483870"/>
                      <a:pt x="92678" y="500253"/>
                    </a:cubicBezTo>
                    <a:cubicBezTo>
                      <a:pt x="72771" y="520827"/>
                      <a:pt x="68009" y="544830"/>
                      <a:pt x="89249" y="567309"/>
                    </a:cubicBezTo>
                    <a:cubicBezTo>
                      <a:pt x="112776" y="592074"/>
                      <a:pt x="157258" y="590169"/>
                      <a:pt x="191167" y="557022"/>
                    </a:cubicBezTo>
                    <a:cubicBezTo>
                      <a:pt x="214313" y="534353"/>
                      <a:pt x="227171" y="506921"/>
                      <a:pt x="223456" y="483775"/>
                    </a:cubicBezTo>
                    <a:cubicBezTo>
                      <a:pt x="221266" y="470059"/>
                      <a:pt x="213265" y="457772"/>
                      <a:pt x="198025" y="448913"/>
                    </a:cubicBezTo>
                    <a:cubicBezTo>
                      <a:pt x="231362" y="438912"/>
                      <a:pt x="255746" y="456724"/>
                      <a:pt x="258128" y="490061"/>
                    </a:cubicBezTo>
                    <a:cubicBezTo>
                      <a:pt x="286226" y="462820"/>
                      <a:pt x="290322" y="451675"/>
                      <a:pt x="275654" y="419005"/>
                    </a:cubicBezTo>
                    <a:cubicBezTo>
                      <a:pt x="311182" y="434531"/>
                      <a:pt x="322040" y="446532"/>
                      <a:pt x="374047" y="392716"/>
                    </a:cubicBezTo>
                    <a:close/>
                  </a:path>
                </a:pathLst>
              </a:custGeom>
              <a:solidFill>
                <a:srgbClr val="0187AD"/>
              </a:solidFill>
              <a:ln>
                <a:noFill/>
              </a:ln>
              <a:effectLst>
                <a:outerShdw blurRad="139700" sx="102000" sy="102000" algn="ctr" rotWithShape="0">
                  <a:srgbClr val="000000">
                    <a:alpha val="22745"/>
                  </a:srgbClr>
                </a:outerShdw>
              </a:effectLst>
            </p:spPr>
            <p:txBody>
              <a:bodyPr spcFirstLastPara="1" wrap="square" lIns="91425" tIns="45700" rIns="91425" bIns="45700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 sz="1800" b="0" i="0" u="none" strike="noStrike" cap="none" dirty="0">
                  <a:solidFill>
                    <a:schemeClr val="dk1"/>
                  </a:solidFill>
                  <a:latin typeface="Arial"/>
                  <a:ea typeface="Arial"/>
                  <a:cs typeface="Arial"/>
                  <a:sym typeface="Arial"/>
                </a:endParaRPr>
              </a:p>
            </p:txBody>
          </p:sp>
        </p:grpSp>
      </p:grpSp>
      <p:pic>
        <p:nvPicPr>
          <p:cNvPr id="46" name="Google Shape;46;p15"/>
          <p:cNvPicPr preferRelativeResize="0"/>
          <p:nvPr/>
        </p:nvPicPr>
        <p:blipFill rotWithShape="1">
          <a:blip r:embed="rId3">
            <a:alphaModFix/>
          </a:blip>
          <a:srcRect l="47491" t="6587" r="34903" b="8179"/>
          <a:stretch/>
        </p:blipFill>
        <p:spPr>
          <a:xfrm>
            <a:off x="0" y="1211380"/>
            <a:ext cx="1931552" cy="3932121"/>
          </a:xfrm>
          <a:custGeom>
            <a:avLst/>
            <a:gdLst/>
            <a:ahLst/>
            <a:cxnLst/>
            <a:rect l="l" t="t" r="r" b="b"/>
            <a:pathLst>
              <a:path w="1931552" h="3932121" extrusionOk="0">
                <a:moveTo>
                  <a:pt x="0" y="0"/>
                </a:moveTo>
                <a:lnTo>
                  <a:pt x="1931552" y="2249350"/>
                </a:lnTo>
                <a:lnTo>
                  <a:pt x="486531" y="3932121"/>
                </a:lnTo>
                <a:lnTo>
                  <a:pt x="0" y="3932121"/>
                </a:lnTo>
                <a:close/>
              </a:path>
            </a:pathLst>
          </a:custGeom>
          <a:solidFill>
            <a:schemeClr val="lt1"/>
          </a:solidFill>
          <a:ln w="28575" cap="flat" cmpd="sng">
            <a:solidFill>
              <a:srgbClr val="44546A"/>
            </a:solidFill>
            <a:prstDash val="solid"/>
            <a:round/>
            <a:headEnd type="none" w="sm" len="sm"/>
            <a:tailEnd type="none" w="sm" len="sm"/>
          </a:ln>
        </p:spPr>
      </p:pic>
      <p:sp>
        <p:nvSpPr>
          <p:cNvPr id="47" name="Google Shape;47;p15"/>
          <p:cNvSpPr/>
          <p:nvPr/>
        </p:nvSpPr>
        <p:spPr>
          <a:xfrm>
            <a:off x="8806563" y="4688434"/>
            <a:ext cx="283580" cy="428263"/>
          </a:xfrm>
          <a:prstGeom prst="rect">
            <a:avLst/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sp>
        <p:nvSpPr>
          <p:cNvPr id="48" name="Google Shape;48;p15"/>
          <p:cNvSpPr/>
          <p:nvPr/>
        </p:nvSpPr>
        <p:spPr>
          <a:xfrm>
            <a:off x="772716" y="3644898"/>
            <a:ext cx="2543968" cy="1498602"/>
          </a:xfrm>
          <a:custGeom>
            <a:avLst/>
            <a:gdLst/>
            <a:ahLst/>
            <a:cxnLst/>
            <a:rect l="l" t="t" r="r" b="b"/>
            <a:pathLst>
              <a:path w="2543968" h="1498602" extrusionOk="0">
                <a:moveTo>
                  <a:pt x="1271984" y="0"/>
                </a:moveTo>
                <a:lnTo>
                  <a:pt x="2543968" y="1498602"/>
                </a:lnTo>
                <a:lnTo>
                  <a:pt x="0" y="1498602"/>
                </a:lnTo>
                <a:close/>
              </a:path>
            </a:pathLst>
          </a:custGeom>
          <a:solidFill>
            <a:srgbClr val="0187AD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sz="1800" b="0" i="0" u="none" strike="noStrike" cap="none" dirty="0">
              <a:solidFill>
                <a:schemeClr val="lt1"/>
              </a:solidFill>
              <a:latin typeface="Calibri"/>
              <a:ea typeface="Calibri"/>
              <a:cs typeface="Calibri"/>
              <a:sym typeface="Calibri"/>
            </a:endParaRPr>
          </a:p>
        </p:txBody>
      </p:sp>
      <p:pic>
        <p:nvPicPr>
          <p:cNvPr id="49" name="Google Shape;49;p15"/>
          <p:cNvPicPr preferRelativeResize="0"/>
          <p:nvPr/>
        </p:nvPicPr>
        <p:blipFill rotWithShape="1">
          <a:blip r:embed="rId4">
            <a:alphaModFix/>
          </a:blip>
          <a:srcRect l="8335" r="8642" b="643"/>
          <a:stretch/>
        </p:blipFill>
        <p:spPr>
          <a:xfrm>
            <a:off x="-1" y="0"/>
            <a:ext cx="4770252" cy="3231929"/>
          </a:xfrm>
          <a:custGeom>
            <a:avLst/>
            <a:gdLst/>
            <a:ahLst/>
            <a:cxnLst/>
            <a:rect l="l" t="t" r="r" b="b"/>
            <a:pathLst>
              <a:path w="4770252" h="3211138" extrusionOk="0">
                <a:moveTo>
                  <a:pt x="0" y="0"/>
                </a:moveTo>
                <a:lnTo>
                  <a:pt x="4770252" y="0"/>
                </a:lnTo>
                <a:lnTo>
                  <a:pt x="2044701" y="3211138"/>
                </a:lnTo>
                <a:lnTo>
                  <a:pt x="0" y="802151"/>
                </a:lnTo>
                <a:close/>
              </a:path>
            </a:pathLst>
          </a:custGeom>
          <a:noFill/>
          <a:ln>
            <a:noFill/>
          </a:ln>
        </p:spPr>
      </p:pic>
      <p:sp>
        <p:nvSpPr>
          <p:cNvPr id="50" name="Google Shape;50;p15"/>
          <p:cNvSpPr txBox="1"/>
          <p:nvPr/>
        </p:nvSpPr>
        <p:spPr>
          <a:xfrm>
            <a:off x="2755900" y="2212495"/>
            <a:ext cx="6388100" cy="95406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100"/>
              <a:buFont typeface="Arial"/>
              <a:buNone/>
            </a:pPr>
            <a:r>
              <a:rPr lang="ru-RU" sz="2800" b="1" dirty="0">
                <a:solidFill>
                  <a:srgbClr val="44546A"/>
                </a:solidFill>
              </a:rPr>
              <a:t>Формирование статистики туризма</a:t>
            </a:r>
            <a:endParaRPr sz="2800" b="1" dirty="0">
              <a:solidFill>
                <a:srgbClr val="44546A"/>
              </a:solidFill>
            </a:endParaRPr>
          </a:p>
        </p:txBody>
      </p:sp>
      <p:sp>
        <p:nvSpPr>
          <p:cNvPr id="51" name="Google Shape;51;p15"/>
          <p:cNvSpPr txBox="1"/>
          <p:nvPr/>
        </p:nvSpPr>
        <p:spPr>
          <a:xfrm>
            <a:off x="3372763" y="4867922"/>
            <a:ext cx="5602475" cy="230832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900" b="1" i="0" u="none" strike="noStrike" cap="none" dirty="0">
                <a:solidFill>
                  <a:srgbClr val="44546A"/>
                </a:solidFill>
                <a:latin typeface="Arial"/>
                <a:ea typeface="Arial"/>
                <a:cs typeface="Arial"/>
                <a:sym typeface="Arial"/>
              </a:rPr>
              <a:t>г. Астана, 2023 год</a:t>
            </a:r>
            <a:endParaRPr sz="900" b="1" i="0" u="none" strike="noStrike" cap="none" dirty="0">
              <a:solidFill>
                <a:srgbClr val="44546A"/>
              </a:solidFill>
              <a:latin typeface="Arial"/>
              <a:ea typeface="Arial"/>
              <a:cs typeface="Arial"/>
              <a:sym typeface="Arial"/>
            </a:endParaRPr>
          </a:p>
        </p:txBody>
      </p:sp>
      <p:pic>
        <p:nvPicPr>
          <p:cNvPr id="52" name="Google Shape;52;p15" descr="ÐÐ°ÑÑÐ¸Ð½ÐºÐ¸ Ð¿Ð¾ Ð·Ð°Ð¿ÑÐ¾ÑÑ Ð³ÐµÑÐ± ÐºÐ°Ð·Ð°ÑÑÑÐ°Ð½Ð° png"/>
          <p:cNvPicPr preferRelativeResize="0"/>
          <p:nvPr/>
        </p:nvPicPr>
        <p:blipFill rotWithShape="1">
          <a:blip r:embed="rId5">
            <a:alphaModFix/>
          </a:blip>
          <a:srcRect/>
          <a:stretch/>
        </p:blipFill>
        <p:spPr>
          <a:xfrm>
            <a:off x="8220293" y="227660"/>
            <a:ext cx="851378" cy="852062"/>
          </a:xfrm>
          <a:prstGeom prst="rect">
            <a:avLst/>
          </a:prstGeom>
          <a:noFill/>
          <a:ln>
            <a:noFill/>
          </a:ln>
        </p:spPr>
      </p:pic>
      <p:sp>
        <p:nvSpPr>
          <p:cNvPr id="53" name="Google Shape;53;p15"/>
          <p:cNvSpPr txBox="1"/>
          <p:nvPr/>
        </p:nvSpPr>
        <p:spPr>
          <a:xfrm>
            <a:off x="5257800" y="203860"/>
            <a:ext cx="2920838" cy="923289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45700" rIns="91425" bIns="45700" anchor="t" anchorCtr="0">
            <a:spAutoFit/>
          </a:bodyPr>
          <a:lstStyle/>
          <a:p>
            <a:pPr marL="0" marR="0" lvl="0" indent="0" rtl="0">
              <a:spcBef>
                <a:spcPts val="0"/>
              </a:spcBef>
              <a:spcAft>
                <a:spcPts val="0"/>
              </a:spcAft>
              <a:buNone/>
            </a:pPr>
            <a:r>
              <a:rPr lang="ru-RU" sz="1800" b="1" i="0" u="none" strike="noStrike" cap="none" dirty="0">
                <a:solidFill>
                  <a:schemeClr val="dk2"/>
                </a:solidFill>
                <a:latin typeface="Lato Black"/>
                <a:ea typeface="Lato Black"/>
                <a:cs typeface="Lato Black"/>
                <a:sym typeface="Lato Black"/>
              </a:rPr>
              <a:t>Бюро национальной статистики АСПИР Республики Казахстан  </a:t>
            </a:r>
            <a:endParaRPr dirty="0"/>
          </a:p>
        </p:txBody>
      </p:sp>
      <p:pic>
        <p:nvPicPr>
          <p:cNvPr id="54" name="Google Shape;54;p15"/>
          <p:cNvPicPr preferRelativeResize="0"/>
          <p:nvPr/>
        </p:nvPicPr>
        <p:blipFill rotWithShape="1">
          <a:blip r:embed="rId6">
            <a:alphaModFix/>
          </a:blip>
          <a:srcRect l="45848" t="2033" r="34903" b="1263"/>
          <a:stretch/>
        </p:blipFill>
        <p:spPr>
          <a:xfrm>
            <a:off x="14361" y="1357267"/>
            <a:ext cx="1785597" cy="3771872"/>
          </a:xfrm>
          <a:custGeom>
            <a:avLst/>
            <a:gdLst/>
            <a:ahLst/>
            <a:cxnLst/>
            <a:rect l="l" t="t" r="r" b="b"/>
            <a:pathLst>
              <a:path w="1760198" h="3771872" extrusionOk="0">
                <a:moveTo>
                  <a:pt x="0" y="0"/>
                </a:moveTo>
                <a:lnTo>
                  <a:pt x="1760198" y="2079381"/>
                </a:lnTo>
                <a:lnTo>
                  <a:pt x="327503" y="3771872"/>
                </a:lnTo>
                <a:lnTo>
                  <a:pt x="0" y="3771872"/>
                </a:lnTo>
                <a:close/>
              </a:path>
            </a:pathLst>
          </a:custGeom>
          <a:noFill/>
          <a:ln>
            <a:noFill/>
          </a:ln>
        </p:spPr>
      </p:pic>
    </p:spTree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C83EE9-F14E-43AA-993C-7EC1C496A711}" type="slidenum">
              <a:rPr lang="ru-RU" smtClean="0"/>
              <a:pPr/>
              <a:t>1</a:t>
            </a:fld>
            <a:endParaRPr lang="ru-RU" dirty="0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19605" b="33963"/>
          <a:stretch/>
        </p:blipFill>
        <p:spPr bwMode="auto">
          <a:xfrm>
            <a:off x="6077444" y="42188"/>
            <a:ext cx="3063240" cy="3214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6" name="Прямоугольник 5">
            <a:extLst>
              <a:ext uri="{FF2B5EF4-FFF2-40B4-BE49-F238E27FC236}">
                <a16:creationId xmlns:a16="http://schemas.microsoft.com/office/drawing/2014/main" xmlns="" id="{151AAE8B-89BC-41D8-B6FA-750546A18E75}"/>
              </a:ext>
            </a:extLst>
          </p:cNvPr>
          <p:cNvSpPr/>
          <p:nvPr/>
        </p:nvSpPr>
        <p:spPr>
          <a:xfrm>
            <a:off x="198596" y="410095"/>
            <a:ext cx="3568371" cy="22159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lvl="0" algn="ctr">
              <a:lnSpc>
                <a:spcPct val="90000"/>
              </a:lnSpc>
              <a:spcBef>
                <a:spcPct val="0"/>
              </a:spcBef>
              <a:defRPr/>
            </a:pPr>
            <a:r>
              <a:rPr lang="ru-RU" sz="1100" b="1" dirty="0">
                <a:solidFill>
                  <a:schemeClr val="accent1">
                    <a:lumMod val="75000"/>
                  </a:schemeClr>
                </a:solidFill>
                <a:sym typeface="Tahoma"/>
              </a:rPr>
              <a:t>Основные направления деятельности</a:t>
            </a:r>
          </a:p>
        </p:txBody>
      </p:sp>
      <p:grpSp>
        <p:nvGrpSpPr>
          <p:cNvPr id="5" name="Группа 33"/>
          <p:cNvGrpSpPr/>
          <p:nvPr/>
        </p:nvGrpSpPr>
        <p:grpSpPr>
          <a:xfrm>
            <a:off x="96645" y="548918"/>
            <a:ext cx="4032413" cy="807417"/>
            <a:chOff x="317987" y="1128808"/>
            <a:chExt cx="5710455" cy="993845"/>
          </a:xfrm>
        </p:grpSpPr>
        <p:sp>
          <p:nvSpPr>
            <p:cNvPr id="58" name="Прямоугольник: скругленные углы 22">
              <a:extLst>
                <a:ext uri="{FF2B5EF4-FFF2-40B4-BE49-F238E27FC236}">
                  <a16:creationId xmlns:a16="http://schemas.microsoft.com/office/drawing/2014/main" xmlns="" id="{42241B48-9C6F-4AC0-A95E-56566FC0335D}"/>
                </a:ext>
              </a:extLst>
            </p:cNvPr>
            <p:cNvSpPr/>
            <p:nvPr/>
          </p:nvSpPr>
          <p:spPr>
            <a:xfrm rot="10800000">
              <a:off x="317987" y="1308442"/>
              <a:ext cx="5710455" cy="798099"/>
            </a:xfrm>
            <a:prstGeom prst="roundRect">
              <a:avLst>
                <a:gd name="adj" fmla="val 50000"/>
              </a:avLst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 sz="2400"/>
            </a:p>
          </p:txBody>
        </p:sp>
        <p:sp>
          <p:nvSpPr>
            <p:cNvPr id="59" name="Google Shape;727;g5f453c7afd_2_116">
              <a:extLst>
                <a:ext uri="{FF2B5EF4-FFF2-40B4-BE49-F238E27FC236}">
                  <a16:creationId xmlns:a16="http://schemas.microsoft.com/office/drawing/2014/main" xmlns="" id="{5FA23D9A-18B6-460B-B1F0-2B1F7AC4A4AE}"/>
                </a:ext>
              </a:extLst>
            </p:cNvPr>
            <p:cNvSpPr/>
            <p:nvPr/>
          </p:nvSpPr>
          <p:spPr>
            <a:xfrm>
              <a:off x="405545" y="1371139"/>
              <a:ext cx="651943" cy="586453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algn="ctr"/>
              <a:endParaRPr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endParaRPr>
            </a:p>
          </p:txBody>
        </p:sp>
        <p:pic>
          <p:nvPicPr>
            <p:cNvPr id="60" name="Google Shape;761;g5f453c7afd_2_116">
              <a:extLst>
                <a:ext uri="{FF2B5EF4-FFF2-40B4-BE49-F238E27FC236}">
                  <a16:creationId xmlns:a16="http://schemas.microsoft.com/office/drawing/2014/main" xmlns="" id="{96EF8B8E-AFE3-4766-BE25-44ADE4F9751B}"/>
                </a:ext>
              </a:extLst>
            </p:cNvPr>
            <p:cNvPicPr preferRelativeResize="0"/>
            <p:nvPr/>
          </p:nvPicPr>
          <p:blipFill rotWithShape="1">
            <a:blip r:embed="rId3" cstate="print">
              <a:alphaModFix/>
              <a:extLst>
                <a:ext uri="{28A0092B-C50C-407E-A947-70E740481C1C}">
                  <a14:useLocalDpi xmlns:a14="http://schemas.microsoft.com/office/drawing/2010/main" xmlns=""/>
                </a:ext>
              </a:extLst>
            </a:blip>
            <a:srcRect/>
            <a:stretch/>
          </p:blipFill>
          <p:spPr>
            <a:xfrm>
              <a:off x="544500" y="1443093"/>
              <a:ext cx="387565" cy="380429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61" name="Прямоугольник 60">
              <a:extLst>
                <a:ext uri="{FF2B5EF4-FFF2-40B4-BE49-F238E27FC236}">
                  <a16:creationId xmlns:a16="http://schemas.microsoft.com/office/drawing/2014/main" xmlns="" id="{87DE3800-4D8E-4A2B-9322-8CBF3915C06D}"/>
                </a:ext>
              </a:extLst>
            </p:cNvPr>
            <p:cNvSpPr/>
            <p:nvPr/>
          </p:nvSpPr>
          <p:spPr>
            <a:xfrm>
              <a:off x="1084973" y="1327088"/>
              <a:ext cx="4943467" cy="79556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/>
              <a:r>
                <a:rPr lang="ru-RU" sz="900" dirty="0" smtClean="0">
                  <a:solidFill>
                    <a:schemeClr val="accent1">
                      <a:lumMod val="75000"/>
                    </a:scheme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организация и  проведение общегосударственных статистических наблюдений по статистике туризма  (сбор, обработка и распространение статистической информации)</a:t>
              </a:r>
              <a:endParaRPr lang="ru-RU" sz="900" dirty="0">
                <a:solidFill>
                  <a:schemeClr val="accent1">
                    <a:lumMod val="7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62" name="Прямоугольник 61">
              <a:extLst>
                <a:ext uri="{FF2B5EF4-FFF2-40B4-BE49-F238E27FC236}">
                  <a16:creationId xmlns:a16="http://schemas.microsoft.com/office/drawing/2014/main" xmlns="" id="{FF4ADC8A-08A2-454C-BBD1-6219C332371F}"/>
                </a:ext>
              </a:extLst>
            </p:cNvPr>
            <p:cNvSpPr/>
            <p:nvPr/>
          </p:nvSpPr>
          <p:spPr>
            <a:xfrm>
              <a:off x="4863240" y="1128808"/>
              <a:ext cx="1066730" cy="833448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r"/>
              <a:r>
                <a:rPr lang="ru-RU" sz="3800" b="1" dirty="0">
                  <a:solidFill>
                    <a:schemeClr val="accent5">
                      <a:lumMod val="40000"/>
                      <a:lumOff val="60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1</a:t>
              </a:r>
            </a:p>
          </p:txBody>
        </p:sp>
      </p:grpSp>
      <p:grpSp>
        <p:nvGrpSpPr>
          <p:cNvPr id="7" name="Группа 62"/>
          <p:cNvGrpSpPr/>
          <p:nvPr/>
        </p:nvGrpSpPr>
        <p:grpSpPr>
          <a:xfrm>
            <a:off x="82728" y="1315392"/>
            <a:ext cx="4064165" cy="677108"/>
            <a:chOff x="174374" y="2365730"/>
            <a:chExt cx="5810746" cy="1698420"/>
          </a:xfrm>
        </p:grpSpPr>
        <p:sp>
          <p:nvSpPr>
            <p:cNvPr id="64" name="Прямоугольник: скругленные углы 20">
              <a:extLst>
                <a:ext uri="{FF2B5EF4-FFF2-40B4-BE49-F238E27FC236}">
                  <a16:creationId xmlns:a16="http://schemas.microsoft.com/office/drawing/2014/main" xmlns="" id="{9CCCD536-B057-495F-A7AB-CB99523271AD}"/>
                </a:ext>
              </a:extLst>
            </p:cNvPr>
            <p:cNvSpPr/>
            <p:nvPr/>
          </p:nvSpPr>
          <p:spPr>
            <a:xfrm rot="10800000">
              <a:off x="174374" y="2703786"/>
              <a:ext cx="5810746" cy="959421"/>
            </a:xfrm>
            <a:prstGeom prst="roundRect">
              <a:avLst>
                <a:gd name="adj" fmla="val 50000"/>
              </a:avLst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 sz="2400"/>
            </a:p>
          </p:txBody>
        </p:sp>
        <p:sp>
          <p:nvSpPr>
            <p:cNvPr id="65" name="Прямоугольник 64">
              <a:extLst>
                <a:ext uri="{FF2B5EF4-FFF2-40B4-BE49-F238E27FC236}">
                  <a16:creationId xmlns:a16="http://schemas.microsoft.com/office/drawing/2014/main" xmlns="" id="{18622A64-82E3-463E-B096-4E13C151D986}"/>
                </a:ext>
              </a:extLst>
            </p:cNvPr>
            <p:cNvSpPr/>
            <p:nvPr/>
          </p:nvSpPr>
          <p:spPr>
            <a:xfrm>
              <a:off x="4527513" y="2365730"/>
              <a:ext cx="1307055" cy="169842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r"/>
              <a:r>
                <a:rPr lang="ru-RU" sz="3800" b="1" dirty="0">
                  <a:solidFill>
                    <a:schemeClr val="accent5">
                      <a:lumMod val="40000"/>
                      <a:lumOff val="60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2</a:t>
              </a:r>
            </a:p>
          </p:txBody>
        </p:sp>
        <p:sp>
          <p:nvSpPr>
            <p:cNvPr id="66" name="Google Shape;727;g5f453c7afd_2_116">
              <a:extLst>
                <a:ext uri="{FF2B5EF4-FFF2-40B4-BE49-F238E27FC236}">
                  <a16:creationId xmlns:a16="http://schemas.microsoft.com/office/drawing/2014/main" xmlns="" id="{FC275701-922E-4283-82EA-1E27FC317ED8}"/>
                </a:ext>
              </a:extLst>
            </p:cNvPr>
            <p:cNvSpPr/>
            <p:nvPr/>
          </p:nvSpPr>
          <p:spPr>
            <a:xfrm>
              <a:off x="327459" y="2746334"/>
              <a:ext cx="541233" cy="836353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algn="ctr"/>
              <a:endParaRPr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endParaRPr>
            </a:p>
          </p:txBody>
        </p:sp>
        <p:pic>
          <p:nvPicPr>
            <p:cNvPr id="67" name="Google Shape;766;g5f453c7afd_2_116">
              <a:extLst>
                <a:ext uri="{FF2B5EF4-FFF2-40B4-BE49-F238E27FC236}">
                  <a16:creationId xmlns:a16="http://schemas.microsoft.com/office/drawing/2014/main" xmlns="" id="{F9DA0D40-DBB6-4EBB-BB00-48666DACB7A2}"/>
                </a:ext>
              </a:extLst>
            </p:cNvPr>
            <p:cNvPicPr preferRelativeResize="0"/>
            <p:nvPr/>
          </p:nvPicPr>
          <p:blipFill rotWithShape="1">
            <a:blip r:embed="rId4" cstate="print">
              <a:alphaModFix/>
              <a:extLst>
                <a:ext uri="{28A0092B-C50C-407E-A947-70E740481C1C}">
                  <a14:useLocalDpi xmlns:a14="http://schemas.microsoft.com/office/drawing/2010/main" xmlns=""/>
                </a:ext>
              </a:extLst>
            </a:blip>
            <a:srcRect/>
            <a:stretch/>
          </p:blipFill>
          <p:spPr>
            <a:xfrm>
              <a:off x="368448" y="2865563"/>
              <a:ext cx="467554" cy="556825"/>
            </a:xfrm>
            <a:prstGeom prst="rect">
              <a:avLst/>
            </a:prstGeom>
            <a:noFill/>
            <a:ln>
              <a:noFill/>
            </a:ln>
          </p:spPr>
        </p:pic>
        <p:sp>
          <p:nvSpPr>
            <p:cNvPr id="68" name="Прямоугольник 67">
              <a:extLst>
                <a:ext uri="{FF2B5EF4-FFF2-40B4-BE49-F238E27FC236}">
                  <a16:creationId xmlns:a16="http://schemas.microsoft.com/office/drawing/2014/main" xmlns="" id="{826D5753-6007-4855-B86C-003689432636}"/>
                </a:ext>
              </a:extLst>
            </p:cNvPr>
            <p:cNvSpPr/>
            <p:nvPr/>
          </p:nvSpPr>
          <p:spPr>
            <a:xfrm>
              <a:off x="1006843" y="2854993"/>
              <a:ext cx="4556018" cy="92641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/>
              <a:r>
                <a:rPr lang="ru-RU" sz="900" dirty="0" smtClean="0">
                  <a:solidFill>
                    <a:schemeClr val="accent1">
                      <a:lumMod val="75000"/>
                    </a:scheme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актуализация реестра мест размещения на ежеквартальной основе</a:t>
              </a:r>
              <a:endParaRPr lang="ru-RU" sz="900" dirty="0">
                <a:solidFill>
                  <a:schemeClr val="accent1">
                    <a:lumMod val="7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</p:grpSp>
      <p:grpSp>
        <p:nvGrpSpPr>
          <p:cNvPr id="8" name="Группа 68"/>
          <p:cNvGrpSpPr/>
          <p:nvPr/>
        </p:nvGrpSpPr>
        <p:grpSpPr>
          <a:xfrm>
            <a:off x="49878" y="1892385"/>
            <a:ext cx="4064165" cy="677108"/>
            <a:chOff x="943280" y="3948122"/>
            <a:chExt cx="5705258" cy="999185"/>
          </a:xfrm>
        </p:grpSpPr>
        <p:sp>
          <p:nvSpPr>
            <p:cNvPr id="70" name="Прямоугольник: скругленные углы 56">
              <a:extLst>
                <a:ext uri="{FF2B5EF4-FFF2-40B4-BE49-F238E27FC236}">
                  <a16:creationId xmlns:a16="http://schemas.microsoft.com/office/drawing/2014/main" xmlns="" id="{08F23DA5-7B51-4E1B-96BF-09F7FC5F4FED}"/>
                </a:ext>
              </a:extLst>
            </p:cNvPr>
            <p:cNvSpPr/>
            <p:nvPr/>
          </p:nvSpPr>
          <p:spPr>
            <a:xfrm rot="10800000">
              <a:off x="943280" y="3988041"/>
              <a:ext cx="5705258" cy="790130"/>
            </a:xfrm>
            <a:prstGeom prst="roundRect">
              <a:avLst>
                <a:gd name="adj" fmla="val 50000"/>
              </a:avLst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 sz="2400"/>
            </a:p>
          </p:txBody>
        </p:sp>
        <p:sp>
          <p:nvSpPr>
            <p:cNvPr id="71" name="Google Shape;727;g5f453c7afd_2_116">
              <a:extLst>
                <a:ext uri="{FF2B5EF4-FFF2-40B4-BE49-F238E27FC236}">
                  <a16:creationId xmlns:a16="http://schemas.microsoft.com/office/drawing/2014/main" xmlns="" id="{B9525750-1FFA-4694-87EA-19F5426E865A}"/>
                </a:ext>
              </a:extLst>
            </p:cNvPr>
            <p:cNvSpPr/>
            <p:nvPr/>
          </p:nvSpPr>
          <p:spPr>
            <a:xfrm>
              <a:off x="1051445" y="4145609"/>
              <a:ext cx="576774" cy="544943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algn="ctr"/>
              <a:endParaRPr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endParaRPr>
            </a:p>
          </p:txBody>
        </p:sp>
        <p:sp>
          <p:nvSpPr>
            <p:cNvPr id="72" name="Прямоугольник 71">
              <a:extLst>
                <a:ext uri="{FF2B5EF4-FFF2-40B4-BE49-F238E27FC236}">
                  <a16:creationId xmlns:a16="http://schemas.microsoft.com/office/drawing/2014/main" xmlns="" id="{04CA43BA-46A5-41D5-B812-FADA228AF549}"/>
                </a:ext>
              </a:extLst>
            </p:cNvPr>
            <p:cNvSpPr/>
            <p:nvPr/>
          </p:nvSpPr>
          <p:spPr>
            <a:xfrm>
              <a:off x="1788002" y="4062849"/>
              <a:ext cx="4464443" cy="74938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/>
              <a:r>
                <a:rPr lang="ru-RU" sz="900" dirty="0" smtClean="0">
                  <a:solidFill>
                    <a:schemeClr val="accent1">
                      <a:lumMod val="75000"/>
                    </a:scheme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формирование показателей для мониторинга </a:t>
              </a:r>
              <a:r>
                <a:rPr lang="kk-KZ" sz="900" dirty="0" smtClean="0">
                  <a:solidFill>
                    <a:schemeClr val="accent1">
                      <a:lumMod val="75000"/>
                    </a:scheme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Государственной Программы </a:t>
              </a:r>
              <a:r>
                <a:rPr lang="ru-RU" sz="900" dirty="0" smtClean="0">
                  <a:solidFill>
                    <a:schemeClr val="accent1">
                      <a:lumMod val="75000"/>
                    </a:scheme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развития туристской отрасли Республики Казахстан на 2019-2025 годы</a:t>
              </a:r>
              <a:endParaRPr lang="ru-RU" sz="900" dirty="0">
                <a:solidFill>
                  <a:schemeClr val="accent1">
                    <a:lumMod val="7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73" name="Прямоугольник 72">
              <a:extLst>
                <a:ext uri="{FF2B5EF4-FFF2-40B4-BE49-F238E27FC236}">
                  <a16:creationId xmlns:a16="http://schemas.microsoft.com/office/drawing/2014/main" xmlns="" id="{2C0D9B8E-D672-4AEB-B7FB-7F5054D0AE77}"/>
                </a:ext>
              </a:extLst>
            </p:cNvPr>
            <p:cNvSpPr/>
            <p:nvPr/>
          </p:nvSpPr>
          <p:spPr>
            <a:xfrm>
              <a:off x="5220056" y="3948122"/>
              <a:ext cx="1283003" cy="999185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r"/>
              <a:r>
                <a:rPr lang="ru-RU" sz="3800" b="1" dirty="0">
                  <a:solidFill>
                    <a:schemeClr val="accent5">
                      <a:lumMod val="40000"/>
                      <a:lumOff val="60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3</a:t>
              </a:r>
            </a:p>
          </p:txBody>
        </p:sp>
        <p:pic>
          <p:nvPicPr>
            <p:cNvPr id="74" name="Рисунок 73">
              <a:extLst>
                <a:ext uri="{FF2B5EF4-FFF2-40B4-BE49-F238E27FC236}">
                  <a16:creationId xmlns:a16="http://schemas.microsoft.com/office/drawing/2014/main" xmlns="" id="{7B783DAB-0F96-475A-AABD-C14413D563A4}"/>
                </a:ext>
              </a:extLst>
            </p:cNvPr>
            <p:cNvPicPr>
              <a:picLocks noChangeAspect="1"/>
            </p:cNvPicPr>
            <p:nvPr/>
          </p:nvPicPr>
          <p:blipFill>
            <a:blip r:embed="rId5" cstate="print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xmlns=""/>
                </a:ext>
                <a:ext uri="{96DAC541-7B7A-43D3-8B79-37D633B846F1}">
                  <asvg:svgBlip xmlns:asvg="http://schemas.microsoft.com/office/drawing/2016/SVG/main" xmlns="" r:embed=""/>
                </a:ext>
              </a:extLst>
            </a:blip>
            <a:stretch>
              <a:fillRect/>
            </a:stretch>
          </p:blipFill>
          <p:spPr>
            <a:xfrm>
              <a:off x="1172170" y="4257996"/>
              <a:ext cx="343697" cy="285761"/>
            </a:xfrm>
            <a:prstGeom prst="rect">
              <a:avLst/>
            </a:prstGeom>
            <a:noFill/>
            <a:effectLst>
              <a:glow rad="127000">
                <a:schemeClr val="bg1"/>
              </a:glow>
            </a:effectLst>
          </p:spPr>
        </p:pic>
      </p:grpSp>
      <p:grpSp>
        <p:nvGrpSpPr>
          <p:cNvPr id="9" name="Группа 74"/>
          <p:cNvGrpSpPr/>
          <p:nvPr/>
        </p:nvGrpSpPr>
        <p:grpSpPr>
          <a:xfrm>
            <a:off x="0" y="2407758"/>
            <a:ext cx="4082000" cy="677108"/>
            <a:chOff x="7005952" y="1117063"/>
            <a:chExt cx="4990426" cy="824747"/>
          </a:xfrm>
        </p:grpSpPr>
        <p:sp>
          <p:nvSpPr>
            <p:cNvPr id="76" name="Прямоугольник: скругленные углы 25">
              <a:extLst>
                <a:ext uri="{FF2B5EF4-FFF2-40B4-BE49-F238E27FC236}">
                  <a16:creationId xmlns:a16="http://schemas.microsoft.com/office/drawing/2014/main" xmlns="" id="{6B307553-84DA-4804-B5DD-8CA662AE1422}"/>
                </a:ext>
              </a:extLst>
            </p:cNvPr>
            <p:cNvSpPr/>
            <p:nvPr/>
          </p:nvSpPr>
          <p:spPr>
            <a:xfrm rot="10800000">
              <a:off x="7005952" y="1256490"/>
              <a:ext cx="4990426" cy="479721"/>
            </a:xfrm>
            <a:prstGeom prst="roundRect">
              <a:avLst>
                <a:gd name="adj" fmla="val 50000"/>
              </a:avLst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 sz="2400"/>
            </a:p>
          </p:txBody>
        </p:sp>
        <p:sp>
          <p:nvSpPr>
            <p:cNvPr id="77" name="Google Shape;727;g5f453c7afd_2_116">
              <a:extLst>
                <a:ext uri="{FF2B5EF4-FFF2-40B4-BE49-F238E27FC236}">
                  <a16:creationId xmlns:a16="http://schemas.microsoft.com/office/drawing/2014/main" xmlns="" id="{65F572F2-AD48-45F9-B3BE-BAD4A94F2DE4}"/>
                </a:ext>
              </a:extLst>
            </p:cNvPr>
            <p:cNvSpPr/>
            <p:nvPr/>
          </p:nvSpPr>
          <p:spPr>
            <a:xfrm>
              <a:off x="7098582" y="1266513"/>
              <a:ext cx="541830" cy="479412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algn="ctr"/>
              <a:endParaRPr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endParaRPr>
            </a:p>
          </p:txBody>
        </p:sp>
        <p:sp>
          <p:nvSpPr>
            <p:cNvPr id="78" name="Прямоугольник 77">
              <a:extLst>
                <a:ext uri="{FF2B5EF4-FFF2-40B4-BE49-F238E27FC236}">
                  <a16:creationId xmlns:a16="http://schemas.microsoft.com/office/drawing/2014/main" xmlns="" id="{F1169574-5FDF-47FD-8911-5E8ED97A36E5}"/>
                </a:ext>
              </a:extLst>
            </p:cNvPr>
            <p:cNvSpPr/>
            <p:nvPr/>
          </p:nvSpPr>
          <p:spPr>
            <a:xfrm>
              <a:off x="7741311" y="1297670"/>
              <a:ext cx="3838534" cy="449862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/>
              <a:r>
                <a:rPr lang="ru-RU" sz="900" dirty="0" smtClean="0">
                  <a:solidFill>
                    <a:schemeClr val="accent1">
                      <a:lumMod val="75000"/>
                    </a:scheme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расчет ежеквартальных показателей для  формирования ВВП, ВДС, ВРП</a:t>
              </a:r>
              <a:endParaRPr lang="ru-RU" sz="900" dirty="0">
                <a:solidFill>
                  <a:schemeClr val="accent1">
                    <a:lumMod val="7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  <p:sp>
          <p:nvSpPr>
            <p:cNvPr id="79" name="Прямоугольник 78">
              <a:extLst>
                <a:ext uri="{FF2B5EF4-FFF2-40B4-BE49-F238E27FC236}">
                  <a16:creationId xmlns:a16="http://schemas.microsoft.com/office/drawing/2014/main" xmlns="" id="{AE4B0AD3-2C0C-416A-883F-1000DCA0534A}"/>
                </a:ext>
              </a:extLst>
            </p:cNvPr>
            <p:cNvSpPr/>
            <p:nvPr/>
          </p:nvSpPr>
          <p:spPr>
            <a:xfrm>
              <a:off x="10804766" y="1117063"/>
              <a:ext cx="1066731" cy="82474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r"/>
              <a:r>
                <a:rPr lang="ru-RU" sz="3800" b="1" dirty="0">
                  <a:solidFill>
                    <a:schemeClr val="accent5">
                      <a:lumMod val="40000"/>
                      <a:lumOff val="60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4</a:t>
              </a:r>
            </a:p>
          </p:txBody>
        </p:sp>
        <p:pic>
          <p:nvPicPr>
            <p:cNvPr id="80" name="Рисунок 79">
              <a:extLst>
                <a:ext uri="{FF2B5EF4-FFF2-40B4-BE49-F238E27FC236}">
                  <a16:creationId xmlns:a16="http://schemas.microsoft.com/office/drawing/2014/main" xmlns="" id="{0BD2264C-85E1-447D-9F0B-27D89250E5EB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xmlns=""/>
                </a:ext>
                <a:ext uri="{96DAC541-7B7A-43D3-8B79-37D633B846F1}">
                  <asvg:svgBlip xmlns:asvg="http://schemas.microsoft.com/office/drawing/2016/SVG/main" xmlns="" r:embed=""/>
                </a:ext>
              </a:extLst>
            </a:blip>
            <a:stretch>
              <a:fillRect/>
            </a:stretch>
          </p:blipFill>
          <p:spPr>
            <a:xfrm>
              <a:off x="7197013" y="1332063"/>
              <a:ext cx="326439" cy="326439"/>
            </a:xfrm>
            <a:prstGeom prst="rect">
              <a:avLst/>
            </a:prstGeom>
            <a:effectLst>
              <a:glow rad="127000">
                <a:schemeClr val="bg1"/>
              </a:glow>
            </a:effectLst>
          </p:spPr>
        </p:pic>
      </p:grpSp>
      <p:grpSp>
        <p:nvGrpSpPr>
          <p:cNvPr id="10" name="Группа 80"/>
          <p:cNvGrpSpPr/>
          <p:nvPr/>
        </p:nvGrpSpPr>
        <p:grpSpPr>
          <a:xfrm>
            <a:off x="15471" y="2986554"/>
            <a:ext cx="4084937" cy="677108"/>
            <a:chOff x="6911938" y="2441220"/>
            <a:chExt cx="5189796" cy="1069969"/>
          </a:xfrm>
        </p:grpSpPr>
        <p:sp>
          <p:nvSpPr>
            <p:cNvPr id="82" name="Прямоугольник: скругленные углы 18">
              <a:extLst>
                <a:ext uri="{FF2B5EF4-FFF2-40B4-BE49-F238E27FC236}">
                  <a16:creationId xmlns:a16="http://schemas.microsoft.com/office/drawing/2014/main" xmlns="" id="{998CB73D-0A68-49D3-A9BE-20F565A534D8}"/>
                </a:ext>
              </a:extLst>
            </p:cNvPr>
            <p:cNvSpPr/>
            <p:nvPr/>
          </p:nvSpPr>
          <p:spPr>
            <a:xfrm rot="10800000">
              <a:off x="6911938" y="2625510"/>
              <a:ext cx="5189796" cy="786451"/>
            </a:xfrm>
            <a:prstGeom prst="roundRect">
              <a:avLst>
                <a:gd name="adj" fmla="val 50000"/>
              </a:avLst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 sz="2400"/>
            </a:p>
          </p:txBody>
        </p:sp>
        <p:sp>
          <p:nvSpPr>
            <p:cNvPr id="83" name="Прямоугольник 82">
              <a:extLst>
                <a:ext uri="{FF2B5EF4-FFF2-40B4-BE49-F238E27FC236}">
                  <a16:creationId xmlns:a16="http://schemas.microsoft.com/office/drawing/2014/main" xmlns="" id="{700EE806-2798-4C06-8FAA-B55AC72422BE}"/>
                </a:ext>
              </a:extLst>
            </p:cNvPr>
            <p:cNvSpPr/>
            <p:nvPr/>
          </p:nvSpPr>
          <p:spPr>
            <a:xfrm>
              <a:off x="11239451" y="2441220"/>
              <a:ext cx="708837" cy="1069969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r"/>
              <a:r>
                <a:rPr lang="ru-RU" sz="3800" b="1" dirty="0">
                  <a:solidFill>
                    <a:schemeClr val="accent5">
                      <a:lumMod val="40000"/>
                      <a:lumOff val="60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5</a:t>
              </a:r>
            </a:p>
          </p:txBody>
        </p:sp>
        <p:sp>
          <p:nvSpPr>
            <p:cNvPr id="84" name="Google Shape;727;g5f453c7afd_2_116">
              <a:extLst>
                <a:ext uri="{FF2B5EF4-FFF2-40B4-BE49-F238E27FC236}">
                  <a16:creationId xmlns:a16="http://schemas.microsoft.com/office/drawing/2014/main" xmlns="" id="{C8B40762-5DDA-4BAF-A979-50D0261FA67F}"/>
                </a:ext>
              </a:extLst>
            </p:cNvPr>
            <p:cNvSpPr/>
            <p:nvPr/>
          </p:nvSpPr>
          <p:spPr>
            <a:xfrm>
              <a:off x="7041460" y="2635189"/>
              <a:ext cx="560859" cy="637341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algn="ctr"/>
              <a:endParaRPr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endParaRPr>
            </a:p>
          </p:txBody>
        </p:sp>
        <p:sp>
          <p:nvSpPr>
            <p:cNvPr id="85" name="Прямоугольник 84">
              <a:extLst>
                <a:ext uri="{FF2B5EF4-FFF2-40B4-BE49-F238E27FC236}">
                  <a16:creationId xmlns:a16="http://schemas.microsoft.com/office/drawing/2014/main" xmlns="" id="{45FAAAF8-FF9B-4171-BB22-5748ABB1ADDC}"/>
                </a:ext>
              </a:extLst>
            </p:cNvPr>
            <p:cNvSpPr/>
            <p:nvPr/>
          </p:nvSpPr>
          <p:spPr>
            <a:xfrm>
              <a:off x="7718314" y="2645958"/>
              <a:ext cx="3870667" cy="802477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/>
              <a:r>
                <a:rPr lang="ru-RU" sz="900" dirty="0" smtClean="0">
                  <a:solidFill>
                    <a:schemeClr val="accent1">
                      <a:lumMod val="75000"/>
                    </a:scheme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заполнение форматов Межгосударственного статистического комитета Содружества Независимых Государств и Евразийской экономической комиссии</a:t>
              </a:r>
            </a:p>
          </p:txBody>
        </p:sp>
        <p:pic>
          <p:nvPicPr>
            <p:cNvPr id="86" name="Рисунок 85"/>
            <p:cNvPicPr>
              <a:picLocks noChangeAspect="1"/>
            </p:cNvPicPr>
            <p:nvPr/>
          </p:nvPicPr>
          <p:blipFill>
            <a:blip r:embed="rId7" cstate="print">
              <a:duotone>
                <a:schemeClr val="accent5">
                  <a:shade val="45000"/>
                  <a:satMod val="135000"/>
                </a:schemeClr>
                <a:prstClr val="white"/>
              </a:duotone>
              <a:extLst>
                <a:ext uri="{28A0092B-C50C-407E-A947-70E740481C1C}">
                  <a14:useLocalDpi xmlns:a14="http://schemas.microsoft.com/office/drawing/2010/main" xmlns=""/>
                </a:ext>
              </a:extLst>
            </a:blip>
            <a:stretch>
              <a:fillRect/>
            </a:stretch>
          </p:blipFill>
          <p:spPr>
            <a:xfrm>
              <a:off x="7099849" y="2779905"/>
              <a:ext cx="447208" cy="422073"/>
            </a:xfrm>
            <a:prstGeom prst="rect">
              <a:avLst/>
            </a:prstGeom>
            <a:effectLst>
              <a:glow rad="127000">
                <a:schemeClr val="bg1"/>
              </a:glow>
            </a:effectLst>
          </p:spPr>
        </p:pic>
      </p:grpSp>
      <p:cxnSp>
        <p:nvCxnSpPr>
          <p:cNvPr id="88" name="Прямая соединительная линия 87">
            <a:extLst>
              <a:ext uri="{FF2B5EF4-FFF2-40B4-BE49-F238E27FC236}">
                <a16:creationId xmlns="" xmlns:a16="http://schemas.microsoft.com/office/drawing/2014/main" id="{8BEDFD3B-7254-4377-A7D1-84670BE617D6}"/>
              </a:ext>
            </a:extLst>
          </p:cNvPr>
          <p:cNvCxnSpPr>
            <a:cxnSpLocks/>
          </p:cNvCxnSpPr>
          <p:nvPr/>
        </p:nvCxnSpPr>
        <p:spPr>
          <a:xfrm rot="16200000" flipV="1">
            <a:off x="2204460" y="2592649"/>
            <a:ext cx="3928028" cy="22049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1" name="Группа 90"/>
          <p:cNvGrpSpPr/>
          <p:nvPr/>
        </p:nvGrpSpPr>
        <p:grpSpPr>
          <a:xfrm>
            <a:off x="10834" y="3666645"/>
            <a:ext cx="4142253" cy="678066"/>
            <a:chOff x="6911938" y="2418796"/>
            <a:chExt cx="5373241" cy="958114"/>
          </a:xfrm>
        </p:grpSpPr>
        <p:sp>
          <p:nvSpPr>
            <p:cNvPr id="92" name="Прямоугольник: скругленные углы 18">
              <a:extLst>
                <a:ext uri="{FF2B5EF4-FFF2-40B4-BE49-F238E27FC236}">
                  <a16:creationId xmlns:a16="http://schemas.microsoft.com/office/drawing/2014/main" xmlns="" id="{998CB73D-0A68-49D3-A9BE-20F565A534D8}"/>
                </a:ext>
              </a:extLst>
            </p:cNvPr>
            <p:cNvSpPr/>
            <p:nvPr/>
          </p:nvSpPr>
          <p:spPr>
            <a:xfrm rot="10800000">
              <a:off x="6911938" y="2545896"/>
              <a:ext cx="5373241" cy="831014"/>
            </a:xfrm>
            <a:prstGeom prst="roundRect">
              <a:avLst>
                <a:gd name="adj" fmla="val 50000"/>
              </a:avLst>
            </a:prstGeom>
            <a:solidFill>
              <a:schemeClr val="accent5">
                <a:lumMod val="20000"/>
                <a:lumOff val="8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 sz="2400"/>
            </a:p>
          </p:txBody>
        </p:sp>
        <p:sp>
          <p:nvSpPr>
            <p:cNvPr id="93" name="Прямоугольник 92">
              <a:extLst>
                <a:ext uri="{FF2B5EF4-FFF2-40B4-BE49-F238E27FC236}">
                  <a16:creationId xmlns:a16="http://schemas.microsoft.com/office/drawing/2014/main" xmlns="" id="{700EE806-2798-4C06-8FAA-B55AC72422BE}"/>
                </a:ext>
              </a:extLst>
            </p:cNvPr>
            <p:cNvSpPr/>
            <p:nvPr/>
          </p:nvSpPr>
          <p:spPr>
            <a:xfrm>
              <a:off x="11466154" y="2418796"/>
              <a:ext cx="708837" cy="95676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 algn="r"/>
              <a:r>
                <a:rPr lang="ru-RU" sz="3800" b="1" dirty="0" smtClean="0">
                  <a:solidFill>
                    <a:schemeClr val="accent5">
                      <a:lumMod val="40000"/>
                      <a:lumOff val="60000"/>
                    </a:schemeClr>
                  </a:solidFill>
                  <a:latin typeface="Tahoma" panose="020B0604030504040204" pitchFamily="34" charset="0"/>
                  <a:ea typeface="Tahoma" panose="020B0604030504040204" pitchFamily="34" charset="0"/>
                  <a:cs typeface="Tahoma" panose="020B0604030504040204" pitchFamily="34" charset="0"/>
                </a:rPr>
                <a:t>6</a:t>
              </a:r>
              <a:endParaRPr lang="ru-RU" sz="3800" b="1" dirty="0">
                <a:solidFill>
                  <a:schemeClr val="accent5">
                    <a:lumMod val="40000"/>
                    <a:lumOff val="6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endParaRPr>
            </a:p>
          </p:txBody>
        </p:sp>
        <p:sp>
          <p:nvSpPr>
            <p:cNvPr id="94" name="Google Shape;727;g5f453c7afd_2_116">
              <a:extLst>
                <a:ext uri="{FF2B5EF4-FFF2-40B4-BE49-F238E27FC236}">
                  <a16:creationId xmlns:a16="http://schemas.microsoft.com/office/drawing/2014/main" xmlns="" id="{C8B40762-5DDA-4BAF-A979-50D0261FA67F}"/>
                </a:ext>
              </a:extLst>
            </p:cNvPr>
            <p:cNvSpPr/>
            <p:nvPr/>
          </p:nvSpPr>
          <p:spPr>
            <a:xfrm>
              <a:off x="7027809" y="2655594"/>
              <a:ext cx="663372" cy="611695"/>
            </a:xfrm>
            <a:prstGeom prst="ellipse">
              <a:avLst/>
            </a:prstGeom>
            <a:solidFill>
              <a:srgbClr val="0070C0"/>
            </a:solidFill>
            <a:ln>
              <a:noFill/>
            </a:ln>
          </p:spPr>
          <p:txBody>
            <a:bodyPr spcFirstLastPara="1" wrap="square" lIns="121900" tIns="60933" rIns="121900" bIns="60933" anchor="ctr" anchorCtr="0">
              <a:noAutofit/>
            </a:bodyPr>
            <a:lstStyle/>
            <a:p>
              <a:pPr algn="ctr"/>
              <a:endParaRPr>
                <a:solidFill>
                  <a:schemeClr val="lt1"/>
                </a:solidFill>
                <a:latin typeface="Calibri" panose="020F0502020204030204" pitchFamily="34" charset="0"/>
                <a:cs typeface="Calibri" panose="020F0502020204030204" pitchFamily="34" charset="0"/>
                <a:sym typeface="Arial"/>
              </a:endParaRPr>
            </a:p>
          </p:txBody>
        </p:sp>
        <p:sp>
          <p:nvSpPr>
            <p:cNvPr id="95" name="Прямоугольник 94">
              <a:extLst>
                <a:ext uri="{FF2B5EF4-FFF2-40B4-BE49-F238E27FC236}">
                  <a16:creationId xmlns:a16="http://schemas.microsoft.com/office/drawing/2014/main" xmlns="" id="{45FAAAF8-FF9B-4171-BB22-5748ABB1ADDC}"/>
                </a:ext>
              </a:extLst>
            </p:cNvPr>
            <p:cNvSpPr/>
            <p:nvPr/>
          </p:nvSpPr>
          <p:spPr>
            <a:xfrm>
              <a:off x="7713989" y="2702184"/>
              <a:ext cx="3748484" cy="521870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lvl="0"/>
              <a:r>
                <a:rPr lang="ru-RU" sz="900" dirty="0" smtClean="0">
                  <a:solidFill>
                    <a:schemeClr val="accent1">
                      <a:lumMod val="75000"/>
                    </a:scheme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подготовка информации для </a:t>
              </a:r>
              <a:r>
                <a:rPr lang="kk-KZ" sz="900" dirty="0" smtClean="0">
                  <a:solidFill>
                    <a:schemeClr val="accent1">
                      <a:lumMod val="75000"/>
                    </a:schemeClr>
                  </a:solidFill>
                  <a:latin typeface="Tahoma" pitchFamily="34" charset="0"/>
                  <a:ea typeface="Tahoma" pitchFamily="34" charset="0"/>
                  <a:cs typeface="Tahoma" pitchFamily="34" charset="0"/>
                </a:rPr>
                <a:t>заполнения вопросников ЮНВТО, ОЭСР, ОЭС и МВФ</a:t>
              </a:r>
              <a:endParaRPr lang="ru-RU" sz="900" dirty="0">
                <a:solidFill>
                  <a:schemeClr val="accent1">
                    <a:lumMod val="75000"/>
                  </a:schemeClr>
                </a:solidFill>
                <a:latin typeface="Tahoma" pitchFamily="34" charset="0"/>
                <a:ea typeface="Tahoma" pitchFamily="34" charset="0"/>
                <a:cs typeface="Tahoma" pitchFamily="34" charset="0"/>
              </a:endParaRPr>
            </a:p>
          </p:txBody>
        </p:sp>
      </p:grpSp>
      <p:sp>
        <p:nvSpPr>
          <p:cNvPr id="98" name="TextBox 97">
            <a:extLst>
              <a:ext uri="{FF2B5EF4-FFF2-40B4-BE49-F238E27FC236}">
                <a16:creationId xmlns="" xmlns:a16="http://schemas.microsoft.com/office/drawing/2014/main" id="{F206E81B-FF72-47E6-8637-5C78CAD1CD42}"/>
              </a:ext>
            </a:extLst>
          </p:cNvPr>
          <p:cNvSpPr txBox="1"/>
          <p:nvPr/>
        </p:nvSpPr>
        <p:spPr>
          <a:xfrm>
            <a:off x="693165" y="89597"/>
            <a:ext cx="4576883" cy="284693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ctr">
              <a:buClr>
                <a:srgbClr val="000000"/>
              </a:buClr>
            </a:pPr>
            <a:r>
              <a:rPr lang="ru-RU" b="1" dirty="0" smtClean="0">
                <a:solidFill>
                  <a:schemeClr val="accent1">
                    <a:lumMod val="75000"/>
                  </a:schemeClr>
                </a:solidFill>
              </a:rPr>
              <a:t>Статистика туризма</a:t>
            </a:r>
            <a:endParaRPr lang="ru-RU" b="1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16" name="Google Shape;737;g5f453c7afd_2_116">
            <a:extLst>
              <a:ext uri="{FF2B5EF4-FFF2-40B4-BE49-F238E27FC236}">
                <a16:creationId xmlns="" xmlns:a16="http://schemas.microsoft.com/office/drawing/2014/main" id="{900E9CD9-6717-42F9-83C7-464336B4B9A2}"/>
              </a:ext>
            </a:extLst>
          </p:cNvPr>
          <p:cNvPicPr preferRelativeResize="0"/>
          <p:nvPr/>
        </p:nvPicPr>
        <p:blipFill rotWithShape="1">
          <a:blip r:embed="rId8" cstate="print">
            <a:alphaModFix/>
            <a:extLst>
              <a:ext uri="{28A0092B-C50C-407E-A947-70E740481C1C}">
                <a14:useLocalDpi xmlns:a14="http://schemas.microsoft.com/office/drawing/2010/main" xmlns=""/>
              </a:ext>
            </a:extLst>
          </a:blip>
          <a:srcRect/>
          <a:stretch/>
        </p:blipFill>
        <p:spPr>
          <a:xfrm>
            <a:off x="196736" y="3295277"/>
            <a:ext cx="357241" cy="330842"/>
          </a:xfrm>
          <a:prstGeom prst="rect">
            <a:avLst/>
          </a:prstGeom>
          <a:noFill/>
          <a:ln>
            <a:noFill/>
          </a:ln>
        </p:spPr>
      </p:pic>
      <p:grpSp>
        <p:nvGrpSpPr>
          <p:cNvPr id="12" name="Группа 89"/>
          <p:cNvGrpSpPr/>
          <p:nvPr/>
        </p:nvGrpSpPr>
        <p:grpSpPr>
          <a:xfrm>
            <a:off x="5840280" y="1253993"/>
            <a:ext cx="1532494" cy="1272450"/>
            <a:chOff x="147783" y="1576908"/>
            <a:chExt cx="2043325" cy="1696600"/>
          </a:xfrm>
        </p:grpSpPr>
        <p:sp>
          <p:nvSpPr>
            <p:cNvPr id="96" name="Google Shape;1967;g5f453c7afd_2_294">
              <a:extLst>
                <a:ext uri="{FF2B5EF4-FFF2-40B4-BE49-F238E27FC236}">
                  <a16:creationId xmlns:a16="http://schemas.microsoft.com/office/drawing/2014/main" xmlns="" id="{CC4A99D2-1BD2-4175-9FEA-E7010997CE5D}"/>
                </a:ext>
              </a:extLst>
            </p:cNvPr>
            <p:cNvSpPr/>
            <p:nvPr/>
          </p:nvSpPr>
          <p:spPr>
            <a:xfrm>
              <a:off x="204189" y="1576908"/>
              <a:ext cx="1952415" cy="1696600"/>
            </a:xfrm>
            <a:prstGeom prst="roundRect">
              <a:avLst>
                <a:gd name="adj" fmla="val 2585"/>
              </a:avLst>
            </a:prstGeom>
            <a:noFill/>
            <a:ln w="19050" cap="flat" cmpd="sng">
              <a:solidFill>
                <a:srgbClr val="00206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889" tIns="60928" rIns="121889" bIns="60928" anchor="ctr" anchorCtr="0">
              <a:noAutofit/>
            </a:bodyPr>
            <a:lstStyle/>
            <a:p>
              <a:pPr algn="ctr">
                <a:buClr>
                  <a:srgbClr val="000000"/>
                </a:buClr>
                <a:buSzPts val="1400"/>
              </a:pPr>
              <a:endParaRPr sz="240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  <p:sp>
          <p:nvSpPr>
            <p:cNvPr id="118" name="Google Shape;1973;g5f453c7afd_2_294">
              <a:extLst>
                <a:ext uri="{FF2B5EF4-FFF2-40B4-BE49-F238E27FC236}">
                  <a16:creationId xmlns:a16="http://schemas.microsoft.com/office/drawing/2014/main" xmlns="" id="{62B23362-B045-49EA-885B-528C8601E1F8}"/>
                </a:ext>
              </a:extLst>
            </p:cNvPr>
            <p:cNvSpPr/>
            <p:nvPr/>
          </p:nvSpPr>
          <p:spPr>
            <a:xfrm>
              <a:off x="147783" y="1786210"/>
              <a:ext cx="2043325" cy="117153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889" tIns="60928" rIns="121889" bIns="60928" anchor="t" anchorCtr="0">
              <a:noAutofit/>
            </a:bodyPr>
            <a:lstStyle/>
            <a:p>
              <a:pPr algn="ctr"/>
              <a:r>
                <a:rPr lang="ru-RU" sz="1100" dirty="0" smtClean="0">
                  <a:cs typeface="Times New Roman" pitchFamily="18" charset="0"/>
                </a:rPr>
                <a:t>Методологическое руководство по статистике туризма (издание 1.2) </a:t>
              </a:r>
              <a:endParaRPr lang="ru-RU" altLang="ko-KR" sz="1100" dirty="0" smtClean="0"/>
            </a:p>
          </p:txBody>
        </p:sp>
      </p:grpSp>
      <p:grpSp>
        <p:nvGrpSpPr>
          <p:cNvPr id="13" name="Группа 118"/>
          <p:cNvGrpSpPr/>
          <p:nvPr/>
        </p:nvGrpSpPr>
        <p:grpSpPr>
          <a:xfrm>
            <a:off x="5848458" y="2679096"/>
            <a:ext cx="1546537" cy="1869182"/>
            <a:chOff x="171963" y="3788442"/>
            <a:chExt cx="1997917" cy="1863127"/>
          </a:xfrm>
        </p:grpSpPr>
        <p:sp>
          <p:nvSpPr>
            <p:cNvPr id="120" name="Стрелка: пятиугольник 4">
              <a:extLst>
                <a:ext uri="{FF2B5EF4-FFF2-40B4-BE49-F238E27FC236}">
                  <a16:creationId xmlns:a16="http://schemas.microsoft.com/office/drawing/2014/main" xmlns="" id="{0C3A4D25-73D2-4B42-A896-43D764706548}"/>
                </a:ext>
              </a:extLst>
            </p:cNvPr>
            <p:cNvSpPr/>
            <p:nvPr/>
          </p:nvSpPr>
          <p:spPr>
            <a:xfrm rot="16200000">
              <a:off x="252000" y="3740631"/>
              <a:ext cx="1863127" cy="1958749"/>
            </a:xfrm>
            <a:prstGeom prst="homePlate">
              <a:avLst>
                <a:gd name="adj" fmla="val 16695"/>
              </a:avLst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sp>
          <p:nvSpPr>
            <p:cNvPr id="121" name="Google Shape;1973;g5f453c7afd_2_294">
              <a:extLst>
                <a:ext uri="{FF2B5EF4-FFF2-40B4-BE49-F238E27FC236}">
                  <a16:creationId xmlns:a16="http://schemas.microsoft.com/office/drawing/2014/main" xmlns="" id="{62B23362-B045-49EA-885B-528C8601E1F8}"/>
                </a:ext>
              </a:extLst>
            </p:cNvPr>
            <p:cNvSpPr/>
            <p:nvPr/>
          </p:nvSpPr>
          <p:spPr>
            <a:xfrm>
              <a:off x="171963" y="4103844"/>
              <a:ext cx="1997917" cy="954943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889" tIns="60928" rIns="121889" bIns="60928" anchor="t" anchorCtr="0">
              <a:noAutofit/>
            </a:bodyPr>
            <a:lstStyle/>
            <a:p>
              <a:pPr lvl="0" algn="ctr"/>
              <a:r>
                <a:rPr lang="ru-RU" sz="1100" dirty="0" smtClean="0">
                  <a:cs typeface="Times New Roman" pitchFamily="18" charset="0"/>
                </a:rPr>
                <a:t>Разработано подразделением </a:t>
              </a:r>
              <a:r>
                <a:rPr lang="ru-RU" sz="1100" dirty="0" err="1" smtClean="0">
                  <a:cs typeface="Times New Roman" pitchFamily="18" charset="0"/>
                </a:rPr>
                <a:t>Евростата</a:t>
              </a:r>
              <a:r>
                <a:rPr lang="ru-RU" sz="1100" dirty="0" smtClean="0">
                  <a:cs typeface="Times New Roman" pitchFamily="18" charset="0"/>
                </a:rPr>
                <a:t> G-3 «Конъюнктурная статистика; Туризм»</a:t>
              </a:r>
              <a:r>
                <a:rPr lang="kk-KZ" sz="1100" dirty="0" smtClean="0">
                  <a:cs typeface="Times New Roman" pitchFamily="18" charset="0"/>
                </a:rPr>
                <a:t> 2012 года</a:t>
              </a:r>
              <a:endParaRPr lang="ru-RU" sz="1100" dirty="0"/>
            </a:p>
          </p:txBody>
        </p:sp>
      </p:grpSp>
      <p:grpSp>
        <p:nvGrpSpPr>
          <p:cNvPr id="14" name="Группа 121"/>
          <p:cNvGrpSpPr/>
          <p:nvPr/>
        </p:nvGrpSpPr>
        <p:grpSpPr>
          <a:xfrm>
            <a:off x="4219925" y="2697911"/>
            <a:ext cx="1557618" cy="1843897"/>
            <a:chOff x="2570576" y="3757481"/>
            <a:chExt cx="2021049" cy="1863127"/>
          </a:xfrm>
        </p:grpSpPr>
        <p:sp>
          <p:nvSpPr>
            <p:cNvPr id="123" name="Стрелка: пятиугольник 4">
              <a:extLst>
                <a:ext uri="{FF2B5EF4-FFF2-40B4-BE49-F238E27FC236}">
                  <a16:creationId xmlns:a16="http://schemas.microsoft.com/office/drawing/2014/main" xmlns="" id="{0C3A4D25-73D2-4B42-A896-43D764706548}"/>
                </a:ext>
              </a:extLst>
            </p:cNvPr>
            <p:cNvSpPr/>
            <p:nvPr/>
          </p:nvSpPr>
          <p:spPr>
            <a:xfrm rot="16200000">
              <a:off x="2680687" y="3709670"/>
              <a:ext cx="1863127" cy="1958749"/>
            </a:xfrm>
            <a:prstGeom prst="homePlate">
              <a:avLst>
                <a:gd name="adj" fmla="val 16695"/>
              </a:avLst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sp>
          <p:nvSpPr>
            <p:cNvPr id="124" name="Google Shape;1973;g5f453c7afd_2_294">
              <a:extLst>
                <a:ext uri="{FF2B5EF4-FFF2-40B4-BE49-F238E27FC236}">
                  <a16:creationId xmlns:a16="http://schemas.microsoft.com/office/drawing/2014/main" xmlns="" id="{62B23362-B045-49EA-885B-528C8601E1F8}"/>
                </a:ext>
              </a:extLst>
            </p:cNvPr>
            <p:cNvSpPr/>
            <p:nvPr/>
          </p:nvSpPr>
          <p:spPr>
            <a:xfrm>
              <a:off x="2570576" y="4031846"/>
              <a:ext cx="1969287" cy="958376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889" tIns="60928" rIns="121889" bIns="60928" anchor="t" anchorCtr="0">
              <a:noAutofit/>
            </a:bodyPr>
            <a:lstStyle/>
            <a:p>
              <a:pPr lvl="0" algn="ctr"/>
              <a:r>
                <a:rPr lang="ru-RU" sz="1100" dirty="0" smtClean="0">
                  <a:cs typeface="Times New Roman" pitchFamily="18" charset="0"/>
                </a:rPr>
                <a:t>Разработаны Всемирной туристской организацией (ЮНВТО) и </a:t>
              </a:r>
              <a:r>
                <a:rPr lang="kk-KZ" sz="1100" dirty="0" smtClean="0">
                  <a:cs typeface="Times New Roman" pitchFamily="18" charset="0"/>
                </a:rPr>
                <a:t>Организацией Объединенных Наций</a:t>
              </a:r>
              <a:r>
                <a:rPr lang="ru-RU" sz="1100" dirty="0" smtClean="0">
                  <a:cs typeface="Times New Roman" pitchFamily="18" charset="0"/>
                </a:rPr>
                <a:t> (ООН)  2008 года</a:t>
              </a:r>
              <a:endParaRPr lang="ru-RU" sz="1100" dirty="0">
                <a:cs typeface="Times New Roman" pitchFamily="18" charset="0"/>
              </a:endParaRPr>
            </a:p>
          </p:txBody>
        </p:sp>
      </p:grpSp>
      <p:sp>
        <p:nvSpPr>
          <p:cNvPr id="125" name="Прямоугольник 124">
            <a:extLst>
              <a:ext uri="{FF2B5EF4-FFF2-40B4-BE49-F238E27FC236}">
                <a16:creationId xmlns:a16="http://schemas.microsoft.com/office/drawing/2014/main" xmlns="" id="{151AAE8B-89BC-41D8-B6FA-750546A18E75}"/>
              </a:ext>
            </a:extLst>
          </p:cNvPr>
          <p:cNvSpPr/>
          <p:nvPr/>
        </p:nvSpPr>
        <p:spPr>
          <a:xfrm>
            <a:off x="6042851" y="623378"/>
            <a:ext cx="1138473" cy="401648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lvl="0" algn="ctr">
              <a:lnSpc>
                <a:spcPct val="90000"/>
              </a:lnSpc>
              <a:spcBef>
                <a:spcPct val="0"/>
              </a:spcBef>
              <a:defRPr/>
            </a:pPr>
            <a:r>
              <a:rPr lang="ru-RU" sz="1200" b="1" dirty="0" smtClean="0">
                <a:solidFill>
                  <a:schemeClr val="accent1">
                    <a:lumMod val="75000"/>
                  </a:schemeClr>
                </a:solidFill>
                <a:sym typeface="Tahoma"/>
              </a:rPr>
              <a:t>Методология</a:t>
            </a:r>
            <a:endParaRPr lang="ru-RU" sz="1200" b="1" dirty="0">
              <a:solidFill>
                <a:schemeClr val="accent1">
                  <a:lumMod val="75000"/>
                </a:schemeClr>
              </a:solidFill>
              <a:sym typeface="Tahoma"/>
            </a:endParaRPr>
          </a:p>
        </p:txBody>
      </p:sp>
      <p:cxnSp>
        <p:nvCxnSpPr>
          <p:cNvPr id="126" name="Соединительная линия уступом 125"/>
          <p:cNvCxnSpPr>
            <a:stCxn id="125" idx="1"/>
            <a:endCxn id="130" idx="0"/>
          </p:cNvCxnSpPr>
          <p:nvPr/>
        </p:nvCxnSpPr>
        <p:spPr>
          <a:xfrm rot="10800000" flipV="1">
            <a:off x="4997227" y="824201"/>
            <a:ext cx="1045625" cy="429791"/>
          </a:xfrm>
          <a:prstGeom prst="bentConnector2">
            <a:avLst/>
          </a:prstGeom>
          <a:ln w="38100"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7" name="Соединительная линия уступом 126"/>
          <p:cNvCxnSpPr>
            <a:stCxn id="125" idx="3"/>
            <a:endCxn id="133" idx="0"/>
          </p:cNvCxnSpPr>
          <p:nvPr/>
        </p:nvCxnSpPr>
        <p:spPr>
          <a:xfrm>
            <a:off x="7181324" y="824202"/>
            <a:ext cx="1168980" cy="429791"/>
          </a:xfrm>
          <a:prstGeom prst="bentConnector2">
            <a:avLst/>
          </a:prstGeom>
          <a:ln w="38100"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5" name="Группа 127"/>
          <p:cNvGrpSpPr/>
          <p:nvPr/>
        </p:nvGrpSpPr>
        <p:grpSpPr>
          <a:xfrm>
            <a:off x="4221199" y="1253993"/>
            <a:ext cx="1508183" cy="1272450"/>
            <a:chOff x="2597814" y="1739739"/>
            <a:chExt cx="2010910" cy="1696600"/>
          </a:xfrm>
        </p:grpSpPr>
        <p:sp>
          <p:nvSpPr>
            <p:cNvPr id="129" name="Google Shape;1973;g5f453c7afd_2_294">
              <a:extLst>
                <a:ext uri="{FF2B5EF4-FFF2-40B4-BE49-F238E27FC236}">
                  <a16:creationId xmlns:a16="http://schemas.microsoft.com/office/drawing/2014/main" xmlns="" id="{62B23362-B045-49EA-885B-528C8601E1F8}"/>
                </a:ext>
              </a:extLst>
            </p:cNvPr>
            <p:cNvSpPr/>
            <p:nvPr/>
          </p:nvSpPr>
          <p:spPr>
            <a:xfrm>
              <a:off x="2597814" y="1976561"/>
              <a:ext cx="1991437" cy="1300874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889" tIns="60928" rIns="121889" bIns="60928" anchor="t" anchorCtr="0">
              <a:noAutofit/>
            </a:bodyPr>
            <a:lstStyle/>
            <a:p>
              <a:pPr lvl="0" algn="ctr"/>
              <a:r>
                <a:rPr lang="ru-RU" sz="1100" dirty="0" smtClean="0">
                  <a:cs typeface="Times New Roman" pitchFamily="18" charset="0"/>
                </a:rPr>
                <a:t>Международные рекомендации по статистике туризма</a:t>
              </a:r>
              <a:endParaRPr lang="ru-RU" sz="1100" dirty="0" smtClean="0"/>
            </a:p>
          </p:txBody>
        </p:sp>
        <p:sp>
          <p:nvSpPr>
            <p:cNvPr id="130" name="Google Shape;1967;g5f453c7afd_2_294">
              <a:extLst>
                <a:ext uri="{FF2B5EF4-FFF2-40B4-BE49-F238E27FC236}">
                  <a16:creationId xmlns:a16="http://schemas.microsoft.com/office/drawing/2014/main" xmlns="" id="{CC4A99D2-1BD2-4175-9FEA-E7010997CE5D}"/>
                </a:ext>
              </a:extLst>
            </p:cNvPr>
            <p:cNvSpPr/>
            <p:nvPr/>
          </p:nvSpPr>
          <p:spPr>
            <a:xfrm>
              <a:off x="2656309" y="1739739"/>
              <a:ext cx="1952415" cy="1696600"/>
            </a:xfrm>
            <a:prstGeom prst="roundRect">
              <a:avLst>
                <a:gd name="adj" fmla="val 2585"/>
              </a:avLst>
            </a:prstGeom>
            <a:noFill/>
            <a:ln w="19050" cap="flat" cmpd="sng">
              <a:solidFill>
                <a:srgbClr val="00206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889" tIns="60928" rIns="121889" bIns="60928" anchor="ctr" anchorCtr="0">
              <a:noAutofit/>
            </a:bodyPr>
            <a:lstStyle/>
            <a:p>
              <a:pPr algn="ctr">
                <a:buClr>
                  <a:srgbClr val="000000"/>
                </a:buClr>
                <a:buSzPts val="1400"/>
              </a:pPr>
              <a:endParaRPr sz="240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grpSp>
        <p:nvGrpSpPr>
          <p:cNvPr id="16" name="Группа 130"/>
          <p:cNvGrpSpPr/>
          <p:nvPr/>
        </p:nvGrpSpPr>
        <p:grpSpPr>
          <a:xfrm>
            <a:off x="7618148" y="1253993"/>
            <a:ext cx="1464311" cy="1272450"/>
            <a:chOff x="11757862" y="1671991"/>
            <a:chExt cx="1952415" cy="1696600"/>
          </a:xfrm>
        </p:grpSpPr>
        <p:sp>
          <p:nvSpPr>
            <p:cNvPr id="132" name="Прямоугольник 131"/>
            <p:cNvSpPr/>
            <p:nvPr/>
          </p:nvSpPr>
          <p:spPr>
            <a:xfrm>
              <a:off x="11757862" y="1881294"/>
              <a:ext cx="1952415" cy="1025921"/>
            </a:xfrm>
            <a:prstGeom prst="rect">
              <a:avLst/>
            </a:prstGeom>
          </p:spPr>
          <p:txBody>
            <a:bodyPr wrap="square">
              <a:spAutoFit/>
            </a:bodyPr>
            <a:lstStyle/>
            <a:p>
              <a:pPr algn="ctr"/>
              <a:r>
                <a:rPr lang="ru-RU" sz="1100" dirty="0" smtClean="0">
                  <a:cs typeface="Times New Roman" pitchFamily="18" charset="0"/>
                </a:rPr>
                <a:t>Методика по формированию показателей статистики туризма</a:t>
              </a:r>
              <a:endParaRPr lang="ru-RU" altLang="ko-KR" sz="1100" dirty="0" smtClean="0"/>
            </a:p>
          </p:txBody>
        </p:sp>
        <p:sp>
          <p:nvSpPr>
            <p:cNvPr id="133" name="Google Shape;1967;g5f453c7afd_2_294">
              <a:extLst>
                <a:ext uri="{FF2B5EF4-FFF2-40B4-BE49-F238E27FC236}">
                  <a16:creationId xmlns:a16="http://schemas.microsoft.com/office/drawing/2014/main" xmlns="" id="{CC4A99D2-1BD2-4175-9FEA-E7010997CE5D}"/>
                </a:ext>
              </a:extLst>
            </p:cNvPr>
            <p:cNvSpPr/>
            <p:nvPr/>
          </p:nvSpPr>
          <p:spPr>
            <a:xfrm>
              <a:off x="11757862" y="1671991"/>
              <a:ext cx="1952415" cy="1696600"/>
            </a:xfrm>
            <a:prstGeom prst="roundRect">
              <a:avLst>
                <a:gd name="adj" fmla="val 2585"/>
              </a:avLst>
            </a:prstGeom>
            <a:noFill/>
            <a:ln w="19050" cap="flat" cmpd="sng">
              <a:solidFill>
                <a:srgbClr val="002060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121889" tIns="60928" rIns="121889" bIns="60928" anchor="ctr" anchorCtr="0">
              <a:noAutofit/>
            </a:bodyPr>
            <a:lstStyle/>
            <a:p>
              <a:pPr algn="ctr">
                <a:buClr>
                  <a:srgbClr val="000000"/>
                </a:buClr>
                <a:buSzPts val="1400"/>
              </a:pPr>
              <a:endParaRPr sz="2400">
                <a:solidFill>
                  <a:srgbClr val="FFFFFF"/>
                </a:solidFill>
                <a:latin typeface="Calibri" panose="020F0502020204030204" pitchFamily="34" charset="0"/>
                <a:cs typeface="Calibri" panose="020F0502020204030204" pitchFamily="34" charset="0"/>
              </a:endParaRPr>
            </a:p>
          </p:txBody>
        </p:sp>
      </p:grpSp>
      <p:cxnSp>
        <p:nvCxnSpPr>
          <p:cNvPr id="134" name="Соединительная линия уступом 133"/>
          <p:cNvCxnSpPr>
            <a:stCxn id="125" idx="2"/>
            <a:endCxn id="96" idx="0"/>
          </p:cNvCxnSpPr>
          <p:nvPr/>
        </p:nvCxnSpPr>
        <p:spPr>
          <a:xfrm rot="16200000" flipH="1">
            <a:off x="6498931" y="1138182"/>
            <a:ext cx="228967" cy="2653"/>
          </a:xfrm>
          <a:prstGeom prst="bentConnector3">
            <a:avLst>
              <a:gd name="adj1" fmla="val 50000"/>
            </a:avLst>
          </a:prstGeom>
          <a:ln w="38100">
            <a:prstDash val="sysDash"/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17" name="Группа 134"/>
          <p:cNvGrpSpPr/>
          <p:nvPr/>
        </p:nvGrpSpPr>
        <p:grpSpPr>
          <a:xfrm>
            <a:off x="7600013" y="2679178"/>
            <a:ext cx="1469062" cy="1869100"/>
            <a:chOff x="204189" y="3788442"/>
            <a:chExt cx="1958749" cy="1863127"/>
          </a:xfrm>
        </p:grpSpPr>
        <p:sp>
          <p:nvSpPr>
            <p:cNvPr id="136" name="Стрелка: пятиугольник 4">
              <a:extLst>
                <a:ext uri="{FF2B5EF4-FFF2-40B4-BE49-F238E27FC236}">
                  <a16:creationId xmlns:a16="http://schemas.microsoft.com/office/drawing/2014/main" xmlns="" id="{0C3A4D25-73D2-4B42-A896-43D764706548}"/>
                </a:ext>
              </a:extLst>
            </p:cNvPr>
            <p:cNvSpPr/>
            <p:nvPr/>
          </p:nvSpPr>
          <p:spPr>
            <a:xfrm rot="16200000">
              <a:off x="252000" y="3740631"/>
              <a:ext cx="1863127" cy="1958749"/>
            </a:xfrm>
            <a:prstGeom prst="homePlate">
              <a:avLst>
                <a:gd name="adj" fmla="val 16695"/>
              </a:avLst>
            </a:prstGeom>
            <a:solidFill>
              <a:schemeClr val="accent5">
                <a:lumMod val="40000"/>
                <a:lumOff val="60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x-none"/>
            </a:p>
          </p:txBody>
        </p:sp>
        <p:sp>
          <p:nvSpPr>
            <p:cNvPr id="137" name="Google Shape;1973;g5f453c7afd_2_294">
              <a:extLst>
                <a:ext uri="{FF2B5EF4-FFF2-40B4-BE49-F238E27FC236}">
                  <a16:creationId xmlns:a16="http://schemas.microsoft.com/office/drawing/2014/main" xmlns="" id="{62B23362-B045-49EA-885B-528C8601E1F8}"/>
                </a:ext>
              </a:extLst>
            </p:cNvPr>
            <p:cNvSpPr/>
            <p:nvPr/>
          </p:nvSpPr>
          <p:spPr>
            <a:xfrm>
              <a:off x="260052" y="4356290"/>
              <a:ext cx="1847021" cy="832927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square" lIns="121889" tIns="60928" rIns="121889" bIns="60928" anchor="t" anchorCtr="0">
              <a:noAutofit/>
            </a:bodyPr>
            <a:lstStyle/>
            <a:p>
              <a:pPr lvl="0" algn="ctr"/>
              <a:r>
                <a:rPr lang="kk-KZ" sz="1100" dirty="0" smtClean="0">
                  <a:cs typeface="Times New Roman" pitchFamily="18" charset="0"/>
                </a:rPr>
                <a:t>Утвержден приказом №212 от 16.09.2016 г</a:t>
              </a:r>
              <a:r>
                <a:rPr lang="kk-KZ" sz="1100" b="1" dirty="0" smtClean="0">
                  <a:cs typeface="Times New Roman" pitchFamily="18" charset="0"/>
                </a:rPr>
                <a:t>.</a:t>
              </a:r>
              <a:endParaRPr lang="ru-RU" sz="1100" b="1" i="1" dirty="0">
                <a:solidFill>
                  <a:srgbClr val="FF0000"/>
                </a:solidFill>
              </a:endParaRPr>
            </a:p>
          </p:txBody>
        </p:sp>
      </p:grpSp>
      <p:pic>
        <p:nvPicPr>
          <p:cNvPr id="3" name="Picture 2" descr="C:\Users\g.aigozina\Desktop\Публикация\4. 2023 Пиктограммы\образ наука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65757" y="89596"/>
            <a:ext cx="357188" cy="3571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xmlns="" val="3488458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>
          <a:xfrm>
            <a:off x="6457950" y="4773732"/>
            <a:ext cx="2057400" cy="273844"/>
          </a:xfrm>
        </p:spPr>
        <p:txBody>
          <a:bodyPr/>
          <a:lstStyle/>
          <a:p>
            <a:fld id="{7CC83EE9-F14E-43AA-993C-7EC1C496A711}" type="slidenum">
              <a:rPr lang="ru-RU" smtClean="0"/>
              <a:pPr/>
              <a:t>2</a:t>
            </a:fld>
            <a:endParaRPr lang="ru-RU" dirty="0"/>
          </a:p>
        </p:txBody>
      </p:sp>
      <p:pic>
        <p:nvPicPr>
          <p:cNvPr id="4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 t="19605" b="33963"/>
          <a:stretch/>
        </p:blipFill>
        <p:spPr bwMode="auto">
          <a:xfrm>
            <a:off x="6077444" y="152169"/>
            <a:ext cx="3063240" cy="3214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 xmlns="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 xmlns="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graphicFrame>
        <p:nvGraphicFramePr>
          <p:cNvPr id="7" name="Таблица 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xmlns="" val="1407818967"/>
              </p:ext>
            </p:extLst>
          </p:nvPr>
        </p:nvGraphicFramePr>
        <p:xfrm>
          <a:off x="394658" y="931653"/>
          <a:ext cx="8420469" cy="230678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2500880"/>
                <a:gridCol w="1406285"/>
                <a:gridCol w="1335578"/>
                <a:gridCol w="1437710"/>
                <a:gridCol w="1740016"/>
              </a:tblGrid>
              <a:tr h="538686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Наименование статистической формы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Индекс</a:t>
                      </a:r>
                      <a:endParaRPr lang="ru-RU" sz="11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Периодичность</a:t>
                      </a:r>
                      <a:endParaRPr lang="ru-RU" sz="1100" b="1" kern="1200" dirty="0">
                        <a:solidFill>
                          <a:schemeClr val="bg1"/>
                        </a:solidFill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Метод обследования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1" kern="1200" dirty="0" smtClean="0">
                          <a:solidFill>
                            <a:schemeClr val="bg1"/>
                          </a:solidFill>
                          <a:latin typeface="+mn-lt"/>
                          <a:ea typeface="+mn-ea"/>
                          <a:cs typeface="+mn-cs"/>
                        </a:rPr>
                        <a:t>Количество респондентов</a:t>
                      </a:r>
                    </a:p>
                  </a:txBody>
                  <a:tcPr marL="68580" marR="68580" marT="34290" marB="34290" anchor="ctr"/>
                </a:tc>
              </a:tr>
              <a:tr h="535302">
                <a:tc>
                  <a:txBody>
                    <a:bodyPr/>
                    <a:lstStyle/>
                    <a:p>
                      <a:pPr lvl="0" algn="ctr"/>
                      <a:r>
                        <a:rPr lang="ru-RU" sz="1100" b="0" dirty="0" smtClean="0"/>
                        <a:t>«Отчет о деятельности мест размещения»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0" kern="1200" dirty="0" smtClean="0">
                          <a:solidFill>
                            <a:schemeClr val="dk1"/>
                          </a:solidFill>
                          <a:latin typeface="+mn-lt"/>
                          <a:ea typeface="Tahoma" pitchFamily="34" charset="0"/>
                          <a:cs typeface="Tahoma" pitchFamily="34" charset="0"/>
                        </a:rPr>
                        <a:t>2-туризм</a:t>
                      </a:r>
                      <a:endParaRPr lang="ru-RU" sz="1100" b="0" kern="1200" dirty="0">
                        <a:solidFill>
                          <a:schemeClr val="dk1"/>
                        </a:solidFill>
                        <a:latin typeface="+mn-lt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ru-RU" sz="1100" b="0" dirty="0" smtClean="0"/>
                        <a:t>квартальная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0" dirty="0" smtClean="0"/>
                        <a:t>сплошной</a:t>
                      </a:r>
                      <a:endParaRPr lang="ru-RU" sz="1100" b="0" kern="1200" dirty="0" smtClean="0">
                        <a:solidFill>
                          <a:schemeClr val="dk1"/>
                        </a:solidFill>
                        <a:latin typeface="+mn-lt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ru-RU" sz="1100" b="0" dirty="0" smtClean="0"/>
                        <a:t>свыше </a:t>
                      </a:r>
                      <a:r>
                        <a:rPr lang="en-US" sz="1100" b="0" dirty="0" smtClean="0"/>
                        <a:t>4</a:t>
                      </a:r>
                      <a:r>
                        <a:rPr lang="ru-RU" sz="1100" b="0" dirty="0" smtClean="0"/>
                        <a:t> тыс.</a:t>
                      </a:r>
                    </a:p>
                  </a:txBody>
                  <a:tcPr marL="68580" marR="68580" marT="34290" marB="34290" anchor="ctr"/>
                </a:tc>
              </a:tr>
              <a:tr h="536995">
                <a:tc>
                  <a:txBody>
                    <a:bodyPr/>
                    <a:lstStyle/>
                    <a:p>
                      <a:pPr lvl="0" algn="ctr"/>
                      <a:r>
                        <a:rPr lang="ru-RU" sz="1100" b="0" dirty="0" smtClean="0"/>
                        <a:t> «Анкета обследования посетителей»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algn="ctr"/>
                      <a:r>
                        <a:rPr lang="ru-RU" sz="1100" b="0" dirty="0" smtClean="0"/>
                        <a:t>Н-060</a:t>
                      </a:r>
                      <a:endParaRPr lang="ru-RU" sz="1100" b="0" kern="1200" dirty="0">
                        <a:solidFill>
                          <a:schemeClr val="dk1"/>
                        </a:solidFill>
                        <a:latin typeface="+mn-lt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ru-RU" sz="1100" b="0" dirty="0" smtClean="0"/>
                        <a:t>2 раза в год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ru-RU" sz="1100" b="0" dirty="0" smtClean="0"/>
                        <a:t>выборочный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lvl="0" algn="ctr"/>
                      <a:r>
                        <a:rPr lang="ru-RU" sz="1100" b="0" dirty="0" smtClean="0"/>
                        <a:t>10 тыс.</a:t>
                      </a:r>
                    </a:p>
                  </a:txBody>
                  <a:tcPr marL="68580" marR="68580" marT="34290" marB="34290" anchor="ctr"/>
                </a:tc>
              </a:tr>
              <a:tr h="695803">
                <a:tc>
                  <a:txBody>
                    <a:bodyPr/>
                    <a:lstStyle/>
                    <a:p>
                      <a:pPr lvl="0" algn="ctr"/>
                      <a:r>
                        <a:rPr lang="ru-RU" sz="1100" b="0" dirty="0" smtClean="0"/>
                        <a:t>«Анкета обследования домашних хозяйств о расходах на поездки»</a:t>
                      </a: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dirty="0" smtClean="0"/>
                        <a:t>Н-050</a:t>
                      </a:r>
                      <a:endParaRPr lang="ru-RU" sz="1100" b="0" kern="1200" dirty="0" smtClean="0">
                        <a:solidFill>
                          <a:schemeClr val="dk1"/>
                        </a:solidFill>
                        <a:latin typeface="+mn-lt"/>
                        <a:ea typeface="Tahoma" pitchFamily="34" charset="0"/>
                        <a:cs typeface="Tahoma" pitchFamily="34" charset="0"/>
                      </a:endParaRPr>
                    </a:p>
                    <a:p>
                      <a:pPr algn="ctr"/>
                      <a:endParaRPr lang="ru-RU" sz="1100" b="0" kern="1200" dirty="0">
                        <a:solidFill>
                          <a:schemeClr val="dk1"/>
                        </a:solidFill>
                        <a:latin typeface="+mn-lt"/>
                        <a:ea typeface="Tahoma" pitchFamily="34" charset="0"/>
                        <a:cs typeface="Tahoma" pitchFamily="34" charset="0"/>
                      </a:endParaRPr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dirty="0" smtClean="0"/>
                        <a:t>годовая</a:t>
                      </a:r>
                    </a:p>
                    <a:p>
                      <a:pPr lvl="0" algn="ctr"/>
                      <a:endParaRPr lang="ru-RU" sz="1100" b="0" dirty="0" smtClean="0"/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dirty="0" smtClean="0"/>
                        <a:t>выборочный</a:t>
                      </a:r>
                    </a:p>
                    <a:p>
                      <a:pPr lvl="0" algn="ctr"/>
                      <a:endParaRPr lang="ru-RU" sz="1100" b="0" dirty="0" smtClean="0"/>
                    </a:p>
                  </a:txBody>
                  <a:tcPr marL="68580" marR="68580" marT="34290" marB="34290" anchor="ctr"/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100" b="0" dirty="0" smtClean="0"/>
                        <a:t>21тыс.</a:t>
                      </a:r>
                      <a:r>
                        <a:rPr lang="ru-RU" sz="1100" b="0" dirty="0" smtClean="0">
                          <a:latin typeface="Calibri" pitchFamily="34" charset="0"/>
                          <a:cs typeface="Times New Roman" pitchFamily="18" charset="0"/>
                        </a:rPr>
                        <a:t> </a:t>
                      </a:r>
                      <a:endParaRPr lang="ru-RU" sz="1100" b="0" dirty="0" smtClean="0"/>
                    </a:p>
                    <a:p>
                      <a:pPr lvl="0" algn="ctr"/>
                      <a:endParaRPr lang="ru-RU" sz="1100" b="0" dirty="0" smtClean="0"/>
                    </a:p>
                  </a:txBody>
                  <a:tcPr marL="68580" marR="68580" marT="34290" marB="34290" anchor="ctr"/>
                </a:tc>
              </a:tr>
            </a:tbl>
          </a:graphicData>
        </a:graphic>
      </p:graphicFrame>
      <p:sp>
        <p:nvSpPr>
          <p:cNvPr id="8" name="Прямоугольник 7">
            <a:extLst>
              <a:ext uri="{FF2B5EF4-FFF2-40B4-BE49-F238E27FC236}">
                <a16:creationId xmlns:a16="http://schemas.microsoft.com/office/drawing/2014/main" xmlns="" id="{151AAE8B-89BC-41D8-B6FA-750546A18E75}"/>
              </a:ext>
            </a:extLst>
          </p:cNvPr>
          <p:cNvSpPr/>
          <p:nvPr/>
        </p:nvSpPr>
        <p:spPr>
          <a:xfrm>
            <a:off x="2934342" y="601693"/>
            <a:ext cx="4306760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defRPr/>
            </a:pPr>
            <a:r>
              <a:rPr lang="ru-RU" sz="1200" b="1" dirty="0" smtClean="0">
                <a:solidFill>
                  <a:schemeClr val="accent1">
                    <a:lumMod val="75000"/>
                  </a:schemeClr>
                </a:solidFill>
              </a:rPr>
              <a:t>Источники данных (</a:t>
            </a:r>
            <a:r>
              <a:rPr lang="ru-RU" sz="1200" b="1" dirty="0">
                <a:solidFill>
                  <a:schemeClr val="accent1">
                    <a:lumMod val="75000"/>
                  </a:schemeClr>
                </a:solidFill>
              </a:rPr>
              <a:t>статистические наблюдения</a:t>
            </a:r>
            <a:r>
              <a:rPr lang="ru-RU" sz="1200" b="1" dirty="0" smtClean="0">
                <a:solidFill>
                  <a:schemeClr val="accent1">
                    <a:lumMod val="75000"/>
                  </a:schemeClr>
                </a:solidFill>
              </a:rPr>
              <a:t>)</a:t>
            </a:r>
            <a:endParaRPr lang="ru-RU" sz="1200" b="1" dirty="0">
              <a:solidFill>
                <a:schemeClr val="accent1">
                  <a:lumMod val="75000"/>
                </a:schemeClr>
              </a:solidFill>
              <a:sym typeface="Tahoma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="" xmlns:a16="http://schemas.microsoft.com/office/drawing/2014/main" id="{F206E81B-FF72-47E6-8637-5C78CAD1CD42}"/>
              </a:ext>
            </a:extLst>
          </p:cNvPr>
          <p:cNvSpPr txBox="1"/>
          <p:nvPr/>
        </p:nvSpPr>
        <p:spPr>
          <a:xfrm>
            <a:off x="693165" y="199578"/>
            <a:ext cx="4576883" cy="284693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ctr">
              <a:buClr>
                <a:srgbClr val="000000"/>
              </a:buClr>
            </a:pPr>
            <a:r>
              <a:rPr lang="ru-RU" b="1" dirty="0" smtClean="0">
                <a:solidFill>
                  <a:schemeClr val="accent1">
                    <a:lumMod val="75000"/>
                  </a:schemeClr>
                </a:solidFill>
              </a:rPr>
              <a:t>Статистика туризма</a:t>
            </a:r>
            <a:endParaRPr lang="ru-RU" b="1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12" name="Picture 2" descr="C:\Users\g.aigozina\Desktop\Публикация\4. 2023 Пиктограммы\образ наука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265757" y="199578"/>
            <a:ext cx="357188" cy="35718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Прямоугольник 12">
            <a:extLst>
              <a:ext uri="{FF2B5EF4-FFF2-40B4-BE49-F238E27FC236}">
                <a16:creationId xmlns:a16="http://schemas.microsoft.com/office/drawing/2014/main" xmlns="" id="{151AAE8B-89BC-41D8-B6FA-750546A18E75}"/>
              </a:ext>
            </a:extLst>
          </p:cNvPr>
          <p:cNvSpPr/>
          <p:nvPr/>
        </p:nvSpPr>
        <p:spPr>
          <a:xfrm>
            <a:off x="2125616" y="3383711"/>
            <a:ext cx="4306760" cy="2354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algn="ctr">
              <a:lnSpc>
                <a:spcPct val="90000"/>
              </a:lnSpc>
              <a:spcBef>
                <a:spcPct val="0"/>
              </a:spcBef>
              <a:defRPr/>
            </a:pPr>
            <a:r>
              <a:rPr lang="ru-RU" sz="1200" b="1" dirty="0" smtClean="0">
                <a:solidFill>
                  <a:schemeClr val="accent1">
                    <a:lumMod val="75000"/>
                  </a:schemeClr>
                </a:solidFill>
              </a:rPr>
              <a:t>Источники данных (административные данные)</a:t>
            </a:r>
            <a:endParaRPr lang="ru-RU" sz="1200" b="1" dirty="0">
              <a:solidFill>
                <a:schemeClr val="accent1">
                  <a:lumMod val="75000"/>
                </a:schemeClr>
              </a:solidFill>
              <a:sym typeface="Tahoma"/>
            </a:endParaRPr>
          </a:p>
        </p:txBody>
      </p:sp>
      <p:grpSp>
        <p:nvGrpSpPr>
          <p:cNvPr id="3" name="Группа 16"/>
          <p:cNvGrpSpPr/>
          <p:nvPr/>
        </p:nvGrpSpPr>
        <p:grpSpPr>
          <a:xfrm>
            <a:off x="771820" y="3739551"/>
            <a:ext cx="2204294" cy="1061050"/>
            <a:chOff x="1413506" y="317649"/>
            <a:chExt cx="7806206" cy="1234947"/>
          </a:xfrm>
        </p:grpSpPr>
        <p:sp>
          <p:nvSpPr>
            <p:cNvPr id="18" name="Пятиугольник 17"/>
            <p:cNvSpPr/>
            <p:nvPr/>
          </p:nvSpPr>
          <p:spPr>
            <a:xfrm rot="10800000">
              <a:off x="1413506" y="317649"/>
              <a:ext cx="7806206" cy="1234947"/>
            </a:xfrm>
            <a:prstGeom prst="homePlate">
              <a:avLst/>
            </a:prstGeom>
            <a:solidFill>
              <a:schemeClr val="accent1">
                <a:lumMod val="20000"/>
                <a:lumOff val="8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19" name="Пятиугольник 4"/>
            <p:cNvSpPr/>
            <p:nvPr/>
          </p:nvSpPr>
          <p:spPr>
            <a:xfrm>
              <a:off x="1722244" y="348249"/>
              <a:ext cx="7497468" cy="1096239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44578" tIns="68580" rIns="128016" bIns="68580" numCol="1" spcCol="1270" anchor="t" anchorCtr="0">
              <a:noAutofit/>
            </a:bodyPr>
            <a:lstStyle/>
            <a:p>
              <a:pPr defTabSz="60007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700" i="1" kern="1200" dirty="0">
                <a:solidFill>
                  <a:schemeClr val="accent1">
                    <a:lumMod val="20000"/>
                    <a:lumOff val="80000"/>
                  </a:schemeClr>
                </a:solidFill>
              </a:endParaRPr>
            </a:p>
          </p:txBody>
        </p:sp>
      </p:grpSp>
      <p:sp>
        <p:nvSpPr>
          <p:cNvPr id="20" name="Овал 19"/>
          <p:cNvSpPr/>
          <p:nvPr/>
        </p:nvSpPr>
        <p:spPr>
          <a:xfrm>
            <a:off x="6224534" y="3975569"/>
            <a:ext cx="614068" cy="569603"/>
          </a:xfrm>
          <a:prstGeom prst="ellipse">
            <a:avLst/>
          </a:prstGeom>
          <a:blipFill rotWithShape="0">
            <a:blip r:embed="rId4" cstate="print"/>
            <a:stretch>
              <a:fillRect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grpSp>
        <p:nvGrpSpPr>
          <p:cNvPr id="5" name="Группа 20"/>
          <p:cNvGrpSpPr/>
          <p:nvPr/>
        </p:nvGrpSpPr>
        <p:grpSpPr>
          <a:xfrm>
            <a:off x="3901308" y="3746021"/>
            <a:ext cx="2115617" cy="1099868"/>
            <a:chOff x="1473298" y="1682707"/>
            <a:chExt cx="7592693" cy="1234947"/>
          </a:xfrm>
        </p:grpSpPr>
        <p:sp>
          <p:nvSpPr>
            <p:cNvPr id="22" name="Пятиугольник 21"/>
            <p:cNvSpPr/>
            <p:nvPr/>
          </p:nvSpPr>
          <p:spPr>
            <a:xfrm rot="10800000">
              <a:off x="1473298" y="1682707"/>
              <a:ext cx="7592693" cy="1234947"/>
            </a:xfrm>
            <a:prstGeom prst="homePlate">
              <a:avLst/>
            </a:prstGeom>
            <a:solidFill>
              <a:srgbClr val="E9F5FB"/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3" name="Пятиугольник 4"/>
            <p:cNvSpPr/>
            <p:nvPr/>
          </p:nvSpPr>
          <p:spPr>
            <a:xfrm>
              <a:off x="1782036" y="1682707"/>
              <a:ext cx="7034197" cy="1234947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44578" tIns="68580" rIns="128016" bIns="68580" numCol="1" spcCol="1270" anchor="t" anchorCtr="0">
              <a:noAutofit/>
            </a:bodyPr>
            <a:lstStyle/>
            <a:p>
              <a:pPr defTabSz="600075">
                <a:lnSpc>
                  <a:spcPct val="90000"/>
                </a:lnSpc>
                <a:spcBef>
                  <a:spcPct val="0"/>
                </a:spcBef>
                <a:spcAft>
                  <a:spcPct val="35000"/>
                </a:spcAft>
              </a:pPr>
              <a:endParaRPr lang="ru-RU" sz="800" dirty="0">
                <a:solidFill>
                  <a:schemeClr val="tx1"/>
                </a:solidFill>
                <a:cs typeface="Times New Roman" pitchFamily="18" charset="0"/>
              </a:endParaRPr>
            </a:p>
          </p:txBody>
        </p:sp>
      </p:grpSp>
      <p:sp>
        <p:nvSpPr>
          <p:cNvPr id="24" name="Овал 23"/>
          <p:cNvSpPr/>
          <p:nvPr/>
        </p:nvSpPr>
        <p:spPr>
          <a:xfrm>
            <a:off x="3096245" y="3901038"/>
            <a:ext cx="812905" cy="763696"/>
          </a:xfrm>
          <a:prstGeom prst="ellipse">
            <a:avLst/>
          </a:prstGeom>
          <a:blipFill rotWithShape="0">
            <a:blip r:embed="rId5" cstate="print"/>
            <a:stretch>
              <a:fillRect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grpSp>
        <p:nvGrpSpPr>
          <p:cNvPr id="6" name="Группа 24"/>
          <p:cNvGrpSpPr/>
          <p:nvPr/>
        </p:nvGrpSpPr>
        <p:grpSpPr>
          <a:xfrm>
            <a:off x="6825652" y="3687793"/>
            <a:ext cx="2102688" cy="1119276"/>
            <a:chOff x="1812479" y="3376199"/>
            <a:chExt cx="7241392" cy="1391421"/>
          </a:xfrm>
        </p:grpSpPr>
        <p:sp>
          <p:nvSpPr>
            <p:cNvPr id="26" name="Пятиугольник 25"/>
            <p:cNvSpPr/>
            <p:nvPr/>
          </p:nvSpPr>
          <p:spPr>
            <a:xfrm rot="10800000">
              <a:off x="1812479" y="3376199"/>
              <a:ext cx="7241389" cy="1391421"/>
            </a:xfrm>
            <a:prstGeom prst="homePlate">
              <a:avLst/>
            </a:prstGeom>
            <a:solidFill>
              <a:schemeClr val="accent1">
                <a:lumMod val="20000"/>
                <a:lumOff val="80000"/>
              </a:schemeClr>
            </a:solidFill>
          </p:spPr>
          <p:style>
            <a:lnRef idx="2">
              <a:schemeClr val="lt1">
                <a:hueOff val="0"/>
                <a:satOff val="0"/>
                <a:lumOff val="0"/>
                <a:alphaOff val="0"/>
              </a:schemeClr>
            </a:lnRef>
            <a:fillRef idx="1">
              <a:scrgbClr r="0" g="0" b="0"/>
            </a:fillRef>
            <a:effectRef idx="0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</p:sp>
        <p:sp>
          <p:nvSpPr>
            <p:cNvPr id="27" name="Пятиугольник 4"/>
            <p:cNvSpPr/>
            <p:nvPr/>
          </p:nvSpPr>
          <p:spPr>
            <a:xfrm>
              <a:off x="2103435" y="3507467"/>
              <a:ext cx="6950436" cy="1103680"/>
            </a:xfrm>
            <a:prstGeom prst="rect">
              <a:avLst/>
            </a:prstGeom>
          </p:spPr>
          <p:style>
            <a:lnRef idx="0">
              <a:scrgbClr r="0" g="0" b="0"/>
            </a:lnRef>
            <a:fillRef idx="0">
              <a:scrgbClr r="0" g="0" b="0"/>
            </a:fillRef>
            <a:effectRef idx="0">
              <a:scrgbClr r="0" g="0" b="0"/>
            </a:effectRef>
            <a:fontRef idx="minor">
              <a:schemeClr val="lt1"/>
            </a:fontRef>
          </p:style>
          <p:txBody>
            <a:bodyPr spcFirstLastPara="0" vert="horz" wrap="square" lIns="544578" tIns="68580" rIns="128016" bIns="68580" numCol="1" spcCol="1270" anchor="t" anchorCtr="0">
              <a:noAutofit/>
            </a:bodyPr>
            <a:lstStyle/>
            <a:p>
              <a:pPr lvl="0"/>
              <a:r>
                <a:rPr lang="kk-KZ" sz="800" b="1" dirty="0" smtClean="0">
                  <a:solidFill>
                    <a:schemeClr val="tx1"/>
                  </a:solidFill>
                </a:rPr>
                <a:t>Комитет лесного хозяйства и животного мира Министерства экологии и природных ресурсов РК</a:t>
              </a:r>
              <a:endParaRPr lang="ru-RU" sz="800" b="1" dirty="0" smtClean="0">
                <a:solidFill>
                  <a:schemeClr val="tx1"/>
                </a:solidFill>
              </a:endParaRPr>
            </a:p>
            <a:p>
              <a:pPr lvl="1"/>
              <a:r>
                <a:rPr lang="ru-RU" sz="700" i="1" dirty="0" smtClean="0">
                  <a:solidFill>
                    <a:schemeClr val="tx1"/>
                  </a:solidFill>
                </a:rPr>
                <a:t>данные по особо охраняемым природным территориям и ботаническим садам</a:t>
              </a:r>
              <a:endParaRPr lang="ru-RU" sz="700" i="1" dirty="0">
                <a:solidFill>
                  <a:schemeClr val="tx1"/>
                </a:solidFill>
              </a:endParaRPr>
            </a:p>
          </p:txBody>
        </p:sp>
      </p:grpSp>
      <p:sp>
        <p:nvSpPr>
          <p:cNvPr id="29" name="Овал 28"/>
          <p:cNvSpPr/>
          <p:nvPr/>
        </p:nvSpPr>
        <p:spPr>
          <a:xfrm>
            <a:off x="187625" y="3991950"/>
            <a:ext cx="558300" cy="504569"/>
          </a:xfrm>
          <a:prstGeom prst="ellipse">
            <a:avLst/>
          </a:prstGeom>
          <a:blipFill rotWithShape="0">
            <a:blip r:embed="rId6" cstate="print"/>
            <a:stretch>
              <a:fillRect/>
            </a:stretch>
          </a:blipFill>
        </p:spPr>
        <p:style>
          <a:lnRef idx="2">
            <a:schemeClr val="lt1">
              <a:hueOff val="0"/>
              <a:satOff val="0"/>
              <a:lumOff val="0"/>
              <a:alphaOff val="0"/>
            </a:schemeClr>
          </a:lnRef>
          <a:fillRef idx="1">
            <a:scrgbClr r="0" g="0" b="0"/>
          </a:fillRef>
          <a:effectRef idx="0">
            <a:schemeClr val="accent1">
              <a:tint val="50000"/>
              <a:hueOff val="0"/>
              <a:satOff val="0"/>
              <a:lumOff val="0"/>
              <a:alphaOff val="0"/>
            </a:schemeClr>
          </a:effectRef>
          <a:fontRef idx="minor">
            <a:schemeClr val="lt1">
              <a:hueOff val="0"/>
              <a:satOff val="0"/>
              <a:lumOff val="0"/>
              <a:alphaOff val="0"/>
            </a:schemeClr>
          </a:fontRef>
        </p:style>
      </p:sp>
      <p:sp>
        <p:nvSpPr>
          <p:cNvPr id="31" name="Прямоугольник 30"/>
          <p:cNvSpPr/>
          <p:nvPr/>
        </p:nvSpPr>
        <p:spPr>
          <a:xfrm>
            <a:off x="1145157" y="3907766"/>
            <a:ext cx="1805077" cy="807913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lvl="0"/>
            <a:r>
              <a:rPr lang="ru-RU" sz="800" b="1" dirty="0" smtClean="0">
                <a:cs typeface="Times New Roman" pitchFamily="18" charset="0"/>
              </a:rPr>
              <a:t>ЕИС «Беркут» Пограничной службы Комитета Национальной Безопасности РК</a:t>
            </a:r>
            <a:endParaRPr lang="ru-RU" sz="800" dirty="0" smtClean="0"/>
          </a:p>
          <a:p>
            <a:pPr lvl="1"/>
            <a:r>
              <a:rPr lang="ru-RU" sz="800" i="1" dirty="0" smtClean="0"/>
              <a:t>данные по въезду (выезду) иностранных граждан (</a:t>
            </a:r>
            <a:r>
              <a:rPr lang="ru-RU" sz="800" i="1" dirty="0" err="1" smtClean="0"/>
              <a:t>граждан</a:t>
            </a:r>
            <a:r>
              <a:rPr lang="ru-RU" sz="800" i="1" dirty="0" smtClean="0"/>
              <a:t> РК);</a:t>
            </a:r>
            <a:endParaRPr lang="ru-RU" sz="800" i="1" dirty="0"/>
          </a:p>
        </p:txBody>
      </p:sp>
      <p:sp>
        <p:nvSpPr>
          <p:cNvPr id="32" name="Прямоугольник 31"/>
          <p:cNvSpPr/>
          <p:nvPr/>
        </p:nvSpPr>
        <p:spPr>
          <a:xfrm>
            <a:off x="4295956" y="3920707"/>
            <a:ext cx="1669211" cy="684803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lvl="0"/>
            <a:r>
              <a:rPr lang="kk-KZ" sz="800" b="1" dirty="0" smtClean="0"/>
              <a:t>Комитет науки Министерства </a:t>
            </a:r>
            <a:r>
              <a:rPr lang="en-US" sz="800" b="1" dirty="0" smtClean="0"/>
              <a:t> </a:t>
            </a:r>
            <a:r>
              <a:rPr lang="ru-RU" sz="800" b="1" dirty="0" smtClean="0"/>
              <a:t>науки и высшего </a:t>
            </a:r>
            <a:r>
              <a:rPr lang="kk-KZ" sz="800" b="1" dirty="0" smtClean="0"/>
              <a:t>образования РК</a:t>
            </a:r>
            <a:endParaRPr lang="ru-RU" sz="800" b="1" dirty="0" smtClean="0"/>
          </a:p>
          <a:p>
            <a:pPr lvl="1"/>
            <a:r>
              <a:rPr lang="ru-RU" sz="800" i="1" dirty="0" smtClean="0"/>
              <a:t>данные по ботаническим садам</a:t>
            </a:r>
            <a:endParaRPr lang="ru-RU" sz="800" i="1" dirty="0"/>
          </a:p>
        </p:txBody>
      </p:sp>
    </p:spTree>
    <p:extLst>
      <p:ext uri="{BB962C8B-B14F-4D97-AF65-F5344CB8AC3E}">
        <p14:creationId xmlns:p14="http://schemas.microsoft.com/office/powerpoint/2010/main" xmlns="" val="383752363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7CC83EE9-F14E-43AA-993C-7EC1C496A711}" type="slidenum">
              <a:rPr lang="ru-RU" smtClean="0"/>
              <a:pPr/>
              <a:t>3</a:t>
            </a:fld>
            <a:endParaRPr lang="ru-RU"/>
          </a:p>
        </p:txBody>
      </p:sp>
      <p:sp>
        <p:nvSpPr>
          <p:cNvPr id="6" name="Прямоугольник 5"/>
          <p:cNvSpPr/>
          <p:nvPr/>
        </p:nvSpPr>
        <p:spPr>
          <a:xfrm>
            <a:off x="3990710" y="1098273"/>
            <a:ext cx="939707" cy="530915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lvl="0" algn="ctr"/>
            <a:r>
              <a:rPr lang="ru-RU" sz="1000" b="1" dirty="0">
                <a:solidFill>
                  <a:schemeClr val="bg1"/>
                </a:solidFill>
              </a:rPr>
              <a:t>Объем оптовой торговли</a:t>
            </a:r>
          </a:p>
        </p:txBody>
      </p:sp>
      <p:sp>
        <p:nvSpPr>
          <p:cNvPr id="12" name="Прямоугольник 11"/>
          <p:cNvSpPr/>
          <p:nvPr/>
        </p:nvSpPr>
        <p:spPr>
          <a:xfrm>
            <a:off x="4567933" y="2172959"/>
            <a:ext cx="897940" cy="37702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lvl="0" algn="ctr"/>
            <a:r>
              <a:rPr lang="ru-RU" sz="1000" b="1" dirty="0">
                <a:solidFill>
                  <a:schemeClr val="bg1"/>
                </a:solidFill>
              </a:rPr>
              <a:t>Товарная структура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3934288" y="3033631"/>
            <a:ext cx="1082615" cy="684803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lvl="0" algn="ctr"/>
            <a:r>
              <a:rPr lang="kk-KZ" sz="800" b="1" dirty="0">
                <a:solidFill>
                  <a:schemeClr val="bg1"/>
                </a:solidFill>
              </a:rPr>
              <a:t>Доля электронной торговли в общем объеме розничной торговли, %</a:t>
            </a:r>
            <a:endParaRPr lang="ru-RU" sz="800" b="1" dirty="0">
              <a:solidFill>
                <a:schemeClr val="bg1"/>
              </a:solidFill>
            </a:endParaRPr>
          </a:p>
        </p:txBody>
      </p:sp>
      <p:pic>
        <p:nvPicPr>
          <p:cNvPr id="18" name="Picture 2"/>
          <p:cNvPicPr>
            <a:picLocks noChangeAspect="1" noChangeArrowheads="1"/>
          </p:cNvPicPr>
          <p:nvPr/>
        </p:nvPicPr>
        <p:blipFill rotWithShape="1">
          <a:blip r:embed="rId2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 t="19605" b="33963"/>
          <a:stretch/>
        </p:blipFill>
        <p:spPr bwMode="auto">
          <a:xfrm>
            <a:off x="6077444" y="42188"/>
            <a:ext cx="3063240" cy="321469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16" name="Прямоугольник 15">
            <a:extLst>
              <a:ext uri="{FF2B5EF4-FFF2-40B4-BE49-F238E27FC236}">
                <a16:creationId xmlns="" xmlns:a16="http://schemas.microsoft.com/office/drawing/2014/main" id="{151AAE8B-89BC-41D8-B6FA-750546A18E75}"/>
              </a:ext>
            </a:extLst>
          </p:cNvPr>
          <p:cNvSpPr/>
          <p:nvPr/>
        </p:nvSpPr>
        <p:spPr>
          <a:xfrm>
            <a:off x="988985" y="439947"/>
            <a:ext cx="3568371" cy="22159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lvl="0" algn="ctr">
              <a:lnSpc>
                <a:spcPct val="90000"/>
              </a:lnSpc>
              <a:spcBef>
                <a:spcPct val="0"/>
              </a:spcBef>
              <a:defRPr/>
            </a:pPr>
            <a:r>
              <a:rPr lang="ru-RU" sz="1100" b="1" dirty="0">
                <a:solidFill>
                  <a:schemeClr val="accent1">
                    <a:lumMod val="75000"/>
                  </a:schemeClr>
                </a:solidFill>
                <a:sym typeface="Tahoma"/>
              </a:rPr>
              <a:t>Основные </a:t>
            </a:r>
            <a:r>
              <a:rPr lang="ru-RU" sz="1100" b="1" dirty="0" smtClean="0">
                <a:solidFill>
                  <a:schemeClr val="accent1">
                    <a:lumMod val="75000"/>
                  </a:schemeClr>
                </a:solidFill>
                <a:sym typeface="Tahoma"/>
              </a:rPr>
              <a:t>показатели</a:t>
            </a:r>
            <a:endParaRPr lang="ru-RU" sz="1100" b="1" dirty="0">
              <a:solidFill>
                <a:schemeClr val="accent1">
                  <a:lumMod val="75000"/>
                </a:schemeClr>
              </a:solidFill>
              <a:sym typeface="Tahoma"/>
            </a:endParaRPr>
          </a:p>
        </p:txBody>
      </p:sp>
      <p:sp>
        <p:nvSpPr>
          <p:cNvPr id="36" name="Прямоугольник 35">
            <a:extLst>
              <a:ext uri="{FF2B5EF4-FFF2-40B4-BE49-F238E27FC236}">
                <a16:creationId xmlns="" xmlns:a16="http://schemas.microsoft.com/office/drawing/2014/main" id="{151AAE8B-89BC-41D8-B6FA-750546A18E75}"/>
              </a:ext>
            </a:extLst>
          </p:cNvPr>
          <p:cNvSpPr/>
          <p:nvPr/>
        </p:nvSpPr>
        <p:spPr>
          <a:xfrm>
            <a:off x="5269844" y="438182"/>
            <a:ext cx="3568371" cy="22159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lvl="0" algn="ctr">
              <a:lnSpc>
                <a:spcPct val="90000"/>
              </a:lnSpc>
              <a:spcBef>
                <a:spcPct val="0"/>
              </a:spcBef>
              <a:defRPr/>
            </a:pPr>
            <a:r>
              <a:rPr lang="ru-RU" sz="1100" b="1" dirty="0" smtClean="0">
                <a:solidFill>
                  <a:schemeClr val="accent1">
                    <a:lumMod val="75000"/>
                  </a:schemeClr>
                </a:solidFill>
                <a:sym typeface="Tahoma"/>
              </a:rPr>
              <a:t>Публикации</a:t>
            </a:r>
            <a:endParaRPr lang="ru-RU" sz="1100" b="1" dirty="0">
              <a:solidFill>
                <a:schemeClr val="accent1">
                  <a:lumMod val="75000"/>
                </a:schemeClr>
              </a:solidFill>
              <a:sym typeface="Tahoma"/>
            </a:endParaRPr>
          </a:p>
        </p:txBody>
      </p:sp>
      <p:cxnSp>
        <p:nvCxnSpPr>
          <p:cNvPr id="37" name="Google Shape;855;g477128686a_0_179">
            <a:extLst>
              <a:ext uri="{FF2B5EF4-FFF2-40B4-BE49-F238E27FC236}">
                <a16:creationId xmlns="" xmlns:a16="http://schemas.microsoft.com/office/drawing/2014/main" id="{B9CD6FC2-76BC-49A4-AAB6-588F97D241D8}"/>
              </a:ext>
            </a:extLst>
          </p:cNvPr>
          <p:cNvCxnSpPr/>
          <p:nvPr/>
        </p:nvCxnSpPr>
        <p:spPr>
          <a:xfrm>
            <a:off x="5333790" y="1095264"/>
            <a:ext cx="3504425" cy="1"/>
          </a:xfrm>
          <a:prstGeom prst="straightConnector1">
            <a:avLst/>
          </a:prstGeom>
          <a:noFill/>
          <a:ln w="19050" cap="flat" cmpd="sng">
            <a:solidFill>
              <a:srgbClr val="002060"/>
            </a:solidFill>
            <a:prstDash val="solid"/>
            <a:miter lim="800000"/>
            <a:headEnd type="none" w="sm" len="sm"/>
            <a:tailEnd type="triangle" w="med" len="med"/>
          </a:ln>
        </p:spPr>
      </p:cxnSp>
      <p:sp>
        <p:nvSpPr>
          <p:cNvPr id="38" name="Google Shape;858;g477128686a_0_179">
            <a:extLst>
              <a:ext uri="{FF2B5EF4-FFF2-40B4-BE49-F238E27FC236}">
                <a16:creationId xmlns="" xmlns:a16="http://schemas.microsoft.com/office/drawing/2014/main" id="{099A66DC-5F13-471D-A524-5BE795A5D948}"/>
              </a:ext>
            </a:extLst>
          </p:cNvPr>
          <p:cNvSpPr/>
          <p:nvPr/>
        </p:nvSpPr>
        <p:spPr>
          <a:xfrm>
            <a:off x="6145872" y="814032"/>
            <a:ext cx="1777495" cy="551439"/>
          </a:xfrm>
          <a:prstGeom prst="ellipse">
            <a:avLst/>
          </a:prstGeom>
          <a:solidFill>
            <a:schemeClr val="lt1"/>
          </a:solidFill>
          <a:ln w="19050" cap="flat" cmpd="sng">
            <a:solidFill>
              <a:srgbClr val="00206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15" tIns="45695" rIns="91415" bIns="45695" anchor="ctr" anchorCtr="0">
            <a:noAutofit/>
          </a:bodyPr>
          <a:lstStyle/>
          <a:p>
            <a:pPr algn="ctr" defTabSz="685698"/>
            <a:endParaRPr sz="2400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Calibri"/>
            </a:endParaRPr>
          </a:p>
        </p:txBody>
      </p:sp>
      <p:sp>
        <p:nvSpPr>
          <p:cNvPr id="43" name="Google Shape;866;g477128686a_0_179">
            <a:extLst>
              <a:ext uri="{FF2B5EF4-FFF2-40B4-BE49-F238E27FC236}">
                <a16:creationId xmlns="" xmlns:a16="http://schemas.microsoft.com/office/drawing/2014/main" id="{DCC5CF9D-6597-4165-BB13-E6EB869CCA39}"/>
              </a:ext>
            </a:extLst>
          </p:cNvPr>
          <p:cNvSpPr/>
          <p:nvPr/>
        </p:nvSpPr>
        <p:spPr>
          <a:xfrm>
            <a:off x="6268548" y="801844"/>
            <a:ext cx="1570961" cy="5875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15" tIns="45695" rIns="91415" bIns="45695" anchor="ctr" anchorCtr="0">
            <a:noAutofit/>
          </a:bodyPr>
          <a:lstStyle/>
          <a:p>
            <a:pPr lvl="0" algn="ctr"/>
            <a:r>
              <a:rPr lang="ru-RU" sz="1000" b="1" dirty="0">
                <a:solidFill>
                  <a:srgbClr val="002060"/>
                </a:solidFill>
              </a:rPr>
              <a:t>Ежегодно </a:t>
            </a:r>
          </a:p>
        </p:txBody>
      </p:sp>
      <p:cxnSp>
        <p:nvCxnSpPr>
          <p:cNvPr id="44" name="Прямая соединительная линия 43">
            <a:extLst>
              <a:ext uri="{FF2B5EF4-FFF2-40B4-BE49-F238E27FC236}">
                <a16:creationId xmlns:a16="http://schemas.microsoft.com/office/drawing/2014/main" xmlns="" id="{8BEDFD3B-7254-4377-A7D1-84670BE617D6}"/>
              </a:ext>
            </a:extLst>
          </p:cNvPr>
          <p:cNvCxnSpPr>
            <a:cxnSpLocks/>
          </p:cNvCxnSpPr>
          <p:nvPr/>
        </p:nvCxnSpPr>
        <p:spPr>
          <a:xfrm flipH="1" flipV="1">
            <a:off x="4766650" y="580412"/>
            <a:ext cx="27800" cy="4472517"/>
          </a:xfrm>
          <a:prstGeom prst="line">
            <a:avLst/>
          </a:prstGeom>
          <a:ln w="19050">
            <a:solidFill>
              <a:schemeClr val="bg1">
                <a:lumMod val="65000"/>
              </a:schemeClr>
            </a:solidFill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9" name="Прямоугольник 48"/>
          <p:cNvSpPr/>
          <p:nvPr/>
        </p:nvSpPr>
        <p:spPr>
          <a:xfrm>
            <a:off x="5664673" y="1505147"/>
            <a:ext cx="2778712" cy="3462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algn="ctr"/>
            <a:r>
              <a:rPr lang="ru-RU" sz="900" b="1" dirty="0" smtClean="0">
                <a:solidFill>
                  <a:srgbClr val="002060"/>
                </a:solidFill>
              </a:rPr>
              <a:t>«О расходах домашних хозяйств на поездки в Республике Казахстан»</a:t>
            </a:r>
            <a:endParaRPr lang="ru-RU" sz="900" b="1" dirty="0">
              <a:solidFill>
                <a:srgbClr val="002060"/>
              </a:solidFill>
            </a:endParaRPr>
          </a:p>
        </p:txBody>
      </p:sp>
      <p:cxnSp>
        <p:nvCxnSpPr>
          <p:cNvPr id="59" name="Google Shape;855;g477128686a_0_179">
            <a:extLst>
              <a:ext uri="{FF2B5EF4-FFF2-40B4-BE49-F238E27FC236}">
                <a16:creationId xmlns="" xmlns:a16="http://schemas.microsoft.com/office/drawing/2014/main" id="{B9CD6FC2-76BC-49A4-AAB6-588F97D241D8}"/>
              </a:ext>
            </a:extLst>
          </p:cNvPr>
          <p:cNvCxnSpPr/>
          <p:nvPr/>
        </p:nvCxnSpPr>
        <p:spPr>
          <a:xfrm>
            <a:off x="5341012" y="2445054"/>
            <a:ext cx="3504425" cy="1"/>
          </a:xfrm>
          <a:prstGeom prst="straightConnector1">
            <a:avLst/>
          </a:prstGeom>
          <a:noFill/>
          <a:ln w="19050" cap="flat" cmpd="sng">
            <a:solidFill>
              <a:srgbClr val="002060"/>
            </a:solidFill>
            <a:prstDash val="solid"/>
            <a:miter lim="800000"/>
            <a:headEnd type="none" w="sm" len="sm"/>
            <a:tailEnd type="triangle" w="med" len="med"/>
          </a:ln>
        </p:spPr>
      </p:cxnSp>
      <p:sp>
        <p:nvSpPr>
          <p:cNvPr id="60" name="Google Shape;858;g477128686a_0_179">
            <a:extLst>
              <a:ext uri="{FF2B5EF4-FFF2-40B4-BE49-F238E27FC236}">
                <a16:creationId xmlns="" xmlns:a16="http://schemas.microsoft.com/office/drawing/2014/main" id="{099A66DC-5F13-471D-A524-5BE795A5D948}"/>
              </a:ext>
            </a:extLst>
          </p:cNvPr>
          <p:cNvSpPr/>
          <p:nvPr/>
        </p:nvSpPr>
        <p:spPr>
          <a:xfrm>
            <a:off x="6127214" y="2170292"/>
            <a:ext cx="1777495" cy="551439"/>
          </a:xfrm>
          <a:prstGeom prst="ellipse">
            <a:avLst/>
          </a:prstGeom>
          <a:solidFill>
            <a:schemeClr val="lt1"/>
          </a:solidFill>
          <a:ln w="19050" cap="flat" cmpd="sng">
            <a:solidFill>
              <a:srgbClr val="00206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15" tIns="45695" rIns="91415" bIns="45695" anchor="ctr" anchorCtr="0">
            <a:noAutofit/>
          </a:bodyPr>
          <a:lstStyle/>
          <a:p>
            <a:pPr algn="ctr" defTabSz="685698"/>
            <a:r>
              <a:rPr lang="ru-RU" sz="1100" b="1" dirty="0" smtClean="0">
                <a:solidFill>
                  <a:srgbClr val="002060"/>
                </a:solidFill>
              </a:rPr>
              <a:t>Один раз в год </a:t>
            </a:r>
            <a:endParaRPr sz="1100" dirty="0">
              <a:solidFill>
                <a:prstClr val="white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  <a:sym typeface="Calibri"/>
            </a:endParaRPr>
          </a:p>
        </p:txBody>
      </p:sp>
      <p:sp>
        <p:nvSpPr>
          <p:cNvPr id="61" name="Прямоугольник 60"/>
          <p:cNvSpPr/>
          <p:nvPr/>
        </p:nvSpPr>
        <p:spPr>
          <a:xfrm>
            <a:off x="6418073" y="1324490"/>
            <a:ext cx="1335857" cy="233270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6010" tIns="76010" rIns="101346" bIns="114014" numCol="1" spcCol="953" anchor="t" anchorCtr="0">
            <a:noAutofit/>
          </a:bodyPr>
          <a:lstStyle/>
          <a:p>
            <a:pPr marL="255985" indent="-255985" defTabSz="684610"/>
            <a:r>
              <a:rPr lang="ru-RU" sz="800" i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Электронные таблицы</a:t>
            </a:r>
          </a:p>
        </p:txBody>
      </p:sp>
      <p:sp>
        <p:nvSpPr>
          <p:cNvPr id="62" name="Google Shape;866;g477128686a_0_179">
            <a:extLst>
              <a:ext uri="{FF2B5EF4-FFF2-40B4-BE49-F238E27FC236}">
                <a16:creationId xmlns="" xmlns:a16="http://schemas.microsoft.com/office/drawing/2014/main" id="{DCC5CF9D-6597-4165-BB13-E6EB869CCA39}"/>
              </a:ext>
            </a:extLst>
          </p:cNvPr>
          <p:cNvSpPr/>
          <p:nvPr/>
        </p:nvSpPr>
        <p:spPr>
          <a:xfrm>
            <a:off x="6223327" y="2418891"/>
            <a:ext cx="1570961" cy="587513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15" tIns="45695" rIns="91415" bIns="45695" anchor="ctr" anchorCtr="0">
            <a:noAutofit/>
          </a:bodyPr>
          <a:lstStyle/>
          <a:p>
            <a:pPr lvl="0" algn="ctr"/>
            <a:endParaRPr lang="ru-RU" sz="1000" b="1" dirty="0">
              <a:solidFill>
                <a:srgbClr val="002060"/>
              </a:solidFill>
            </a:endParaRPr>
          </a:p>
        </p:txBody>
      </p:sp>
      <p:sp>
        <p:nvSpPr>
          <p:cNvPr id="63" name="Прямоугольник 62"/>
          <p:cNvSpPr/>
          <p:nvPr/>
        </p:nvSpPr>
        <p:spPr>
          <a:xfrm>
            <a:off x="5686964" y="4380063"/>
            <a:ext cx="2820837" cy="3462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lvl="0" algn="ctr"/>
            <a:r>
              <a:rPr lang="ru-RU" sz="900" b="1" dirty="0" smtClean="0">
                <a:solidFill>
                  <a:srgbClr val="002060"/>
                </a:solidFill>
              </a:rPr>
              <a:t>«О деятельности мест размещения в Республике Казахстан»</a:t>
            </a:r>
            <a:endParaRPr lang="ru-RU" sz="900" b="1" dirty="0">
              <a:solidFill>
                <a:srgbClr val="002060"/>
              </a:solidFill>
            </a:endParaRPr>
          </a:p>
        </p:txBody>
      </p:sp>
      <p:sp>
        <p:nvSpPr>
          <p:cNvPr id="64" name="Прямоугольник 63"/>
          <p:cNvSpPr/>
          <p:nvPr/>
        </p:nvSpPr>
        <p:spPr>
          <a:xfrm>
            <a:off x="6446380" y="4121773"/>
            <a:ext cx="1335857" cy="174182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6010" tIns="76010" rIns="101346" bIns="114014" numCol="1" spcCol="953" anchor="t" anchorCtr="0">
            <a:noAutofit/>
          </a:bodyPr>
          <a:lstStyle/>
          <a:p>
            <a:pPr marL="255985" indent="-255985" defTabSz="684610"/>
            <a:r>
              <a:rPr lang="ru-RU" sz="800" i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Электронные таблицы</a:t>
            </a:r>
          </a:p>
        </p:txBody>
      </p:sp>
      <p:grpSp>
        <p:nvGrpSpPr>
          <p:cNvPr id="3" name="Группа 12"/>
          <p:cNvGrpSpPr/>
          <p:nvPr/>
        </p:nvGrpSpPr>
        <p:grpSpPr>
          <a:xfrm>
            <a:off x="6176903" y="400723"/>
            <a:ext cx="353712" cy="311378"/>
            <a:chOff x="149660" y="1057856"/>
            <a:chExt cx="648073" cy="648072"/>
          </a:xfrm>
        </p:grpSpPr>
        <p:sp>
          <p:nvSpPr>
            <p:cNvPr id="70" name="Овал 69"/>
            <p:cNvSpPr/>
            <p:nvPr/>
          </p:nvSpPr>
          <p:spPr>
            <a:xfrm>
              <a:off x="149660" y="1057856"/>
              <a:ext cx="648073" cy="648072"/>
            </a:xfrm>
            <a:prstGeom prst="ellipse">
              <a:avLst/>
            </a:prstGeom>
            <a:solidFill>
              <a:schemeClr val="accent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ru-RU" sz="1500" dirty="0">
                <a:cs typeface="Arial" pitchFamily="34" charset="0"/>
              </a:endParaRPr>
            </a:p>
          </p:txBody>
        </p:sp>
        <p:sp>
          <p:nvSpPr>
            <p:cNvPr id="71" name="Shape 1874"/>
            <p:cNvSpPr>
              <a:spLocks/>
            </p:cNvSpPr>
            <p:nvPr/>
          </p:nvSpPr>
          <p:spPr bwMode="auto">
            <a:xfrm>
              <a:off x="288630" y="1215714"/>
              <a:ext cx="393282" cy="355501"/>
            </a:xfrm>
            <a:custGeom>
              <a:avLst/>
              <a:gdLst>
                <a:gd name="T0" fmla="*/ 51352446 w 21600"/>
                <a:gd name="T1" fmla="*/ 37984605 h 21600"/>
                <a:gd name="T2" fmla="*/ 51352446 w 21600"/>
                <a:gd name="T3" fmla="*/ 37984605 h 21600"/>
                <a:gd name="T4" fmla="*/ 51352446 w 21600"/>
                <a:gd name="T5" fmla="*/ 37984605 h 21600"/>
                <a:gd name="T6" fmla="*/ 51352446 w 21600"/>
                <a:gd name="T7" fmla="*/ 37984605 h 21600"/>
                <a:gd name="T8" fmla="*/ 0 60000 65536"/>
                <a:gd name="T9" fmla="*/ 5898240 60000 65536"/>
                <a:gd name="T10" fmla="*/ 11796480 60000 65536"/>
                <a:gd name="T11" fmla="*/ 17694720 60000 65536"/>
              </a:gdLst>
              <a:ahLst/>
              <a:cxnLst>
                <a:cxn ang="T8">
                  <a:pos x="T0" y="T1"/>
                </a:cxn>
                <a:cxn ang="T9">
                  <a:pos x="T2" y="T3"/>
                </a:cxn>
                <a:cxn ang="T10">
                  <a:pos x="T4" y="T5"/>
                </a:cxn>
                <a:cxn ang="T11">
                  <a:pos x="T6" y="T7"/>
                </a:cxn>
              </a:cxnLst>
              <a:rect l="0" t="0" r="r" b="b"/>
              <a:pathLst>
                <a:path w="21600" h="21600" extrusionOk="0">
                  <a:moveTo>
                    <a:pt x="2956" y="0"/>
                  </a:moveTo>
                  <a:lnTo>
                    <a:pt x="17735" y="0"/>
                  </a:lnTo>
                  <a:lnTo>
                    <a:pt x="17735" y="4270"/>
                  </a:lnTo>
                  <a:lnTo>
                    <a:pt x="15916" y="6153"/>
                  </a:lnTo>
                  <a:lnTo>
                    <a:pt x="15916" y="1633"/>
                  </a:lnTo>
                  <a:lnTo>
                    <a:pt x="3752" y="1633"/>
                  </a:lnTo>
                  <a:lnTo>
                    <a:pt x="3752" y="3014"/>
                  </a:lnTo>
                  <a:lnTo>
                    <a:pt x="4661" y="2637"/>
                  </a:lnTo>
                  <a:lnTo>
                    <a:pt x="5457" y="2135"/>
                  </a:lnTo>
                  <a:lnTo>
                    <a:pt x="6139" y="4019"/>
                  </a:lnTo>
                  <a:lnTo>
                    <a:pt x="5229" y="4270"/>
                  </a:lnTo>
                  <a:lnTo>
                    <a:pt x="3752" y="5149"/>
                  </a:lnTo>
                  <a:lnTo>
                    <a:pt x="3752" y="5902"/>
                  </a:lnTo>
                  <a:lnTo>
                    <a:pt x="4661" y="5651"/>
                  </a:lnTo>
                  <a:lnTo>
                    <a:pt x="5457" y="5149"/>
                  </a:lnTo>
                  <a:lnTo>
                    <a:pt x="6139" y="7033"/>
                  </a:lnTo>
                  <a:lnTo>
                    <a:pt x="5229" y="7284"/>
                  </a:lnTo>
                  <a:lnTo>
                    <a:pt x="3752" y="8163"/>
                  </a:lnTo>
                  <a:lnTo>
                    <a:pt x="3752" y="9167"/>
                  </a:lnTo>
                  <a:lnTo>
                    <a:pt x="4661" y="8916"/>
                  </a:lnTo>
                  <a:lnTo>
                    <a:pt x="5457" y="8414"/>
                  </a:lnTo>
                  <a:lnTo>
                    <a:pt x="6139" y="10298"/>
                  </a:lnTo>
                  <a:lnTo>
                    <a:pt x="5229" y="10549"/>
                  </a:lnTo>
                  <a:lnTo>
                    <a:pt x="3752" y="11302"/>
                  </a:lnTo>
                  <a:lnTo>
                    <a:pt x="3752" y="12181"/>
                  </a:lnTo>
                  <a:lnTo>
                    <a:pt x="4661" y="11930"/>
                  </a:lnTo>
                  <a:lnTo>
                    <a:pt x="5457" y="11302"/>
                  </a:lnTo>
                  <a:lnTo>
                    <a:pt x="6139" y="13186"/>
                  </a:lnTo>
                  <a:lnTo>
                    <a:pt x="5229" y="13563"/>
                  </a:lnTo>
                  <a:lnTo>
                    <a:pt x="3752" y="14316"/>
                  </a:lnTo>
                  <a:lnTo>
                    <a:pt x="3752" y="15447"/>
                  </a:lnTo>
                  <a:lnTo>
                    <a:pt x="4661" y="15195"/>
                  </a:lnTo>
                  <a:lnTo>
                    <a:pt x="5457" y="14819"/>
                  </a:lnTo>
                  <a:lnTo>
                    <a:pt x="6139" y="16451"/>
                  </a:lnTo>
                  <a:lnTo>
                    <a:pt x="5229" y="16702"/>
                  </a:lnTo>
                  <a:lnTo>
                    <a:pt x="3752" y="17581"/>
                  </a:lnTo>
                  <a:lnTo>
                    <a:pt x="3752" y="19716"/>
                  </a:lnTo>
                  <a:lnTo>
                    <a:pt x="15916" y="19716"/>
                  </a:lnTo>
                  <a:lnTo>
                    <a:pt x="15916" y="15698"/>
                  </a:lnTo>
                  <a:lnTo>
                    <a:pt x="17735" y="13814"/>
                  </a:lnTo>
                  <a:lnTo>
                    <a:pt x="17735" y="21600"/>
                  </a:lnTo>
                  <a:lnTo>
                    <a:pt x="2046" y="21600"/>
                  </a:lnTo>
                  <a:lnTo>
                    <a:pt x="2046" y="19214"/>
                  </a:lnTo>
                  <a:lnTo>
                    <a:pt x="227" y="19214"/>
                  </a:lnTo>
                  <a:lnTo>
                    <a:pt x="0" y="17330"/>
                  </a:lnTo>
                  <a:lnTo>
                    <a:pt x="2046" y="16451"/>
                  </a:lnTo>
                  <a:lnTo>
                    <a:pt x="2046" y="15949"/>
                  </a:lnTo>
                  <a:lnTo>
                    <a:pt x="227" y="15949"/>
                  </a:lnTo>
                  <a:lnTo>
                    <a:pt x="0" y="14065"/>
                  </a:lnTo>
                  <a:lnTo>
                    <a:pt x="2046" y="12935"/>
                  </a:lnTo>
                  <a:lnTo>
                    <a:pt x="227" y="12935"/>
                  </a:lnTo>
                  <a:lnTo>
                    <a:pt x="0" y="11051"/>
                  </a:lnTo>
                  <a:lnTo>
                    <a:pt x="2046" y="10047"/>
                  </a:lnTo>
                  <a:lnTo>
                    <a:pt x="2046" y="9670"/>
                  </a:lnTo>
                  <a:lnTo>
                    <a:pt x="227" y="9670"/>
                  </a:lnTo>
                  <a:lnTo>
                    <a:pt x="0" y="7786"/>
                  </a:lnTo>
                  <a:lnTo>
                    <a:pt x="2046" y="6781"/>
                  </a:lnTo>
                  <a:lnTo>
                    <a:pt x="227" y="6781"/>
                  </a:lnTo>
                  <a:lnTo>
                    <a:pt x="0" y="4898"/>
                  </a:lnTo>
                  <a:lnTo>
                    <a:pt x="2046" y="3767"/>
                  </a:lnTo>
                  <a:lnTo>
                    <a:pt x="2046" y="0"/>
                  </a:lnTo>
                  <a:lnTo>
                    <a:pt x="2956" y="0"/>
                  </a:lnTo>
                  <a:close/>
                  <a:moveTo>
                    <a:pt x="7617" y="10298"/>
                  </a:moveTo>
                  <a:lnTo>
                    <a:pt x="7617" y="11302"/>
                  </a:lnTo>
                  <a:lnTo>
                    <a:pt x="9891" y="11302"/>
                  </a:lnTo>
                  <a:lnTo>
                    <a:pt x="9891" y="10298"/>
                  </a:lnTo>
                  <a:lnTo>
                    <a:pt x="7617" y="10298"/>
                  </a:lnTo>
                  <a:close/>
                  <a:moveTo>
                    <a:pt x="7617" y="8163"/>
                  </a:moveTo>
                  <a:lnTo>
                    <a:pt x="7617" y="8916"/>
                  </a:lnTo>
                  <a:lnTo>
                    <a:pt x="11823" y="8916"/>
                  </a:lnTo>
                  <a:lnTo>
                    <a:pt x="11823" y="8163"/>
                  </a:lnTo>
                  <a:lnTo>
                    <a:pt x="7617" y="8163"/>
                  </a:lnTo>
                  <a:close/>
                  <a:moveTo>
                    <a:pt x="7617" y="5651"/>
                  </a:moveTo>
                  <a:lnTo>
                    <a:pt x="7617" y="6781"/>
                  </a:lnTo>
                  <a:lnTo>
                    <a:pt x="13756" y="6781"/>
                  </a:lnTo>
                  <a:lnTo>
                    <a:pt x="13756" y="5651"/>
                  </a:lnTo>
                  <a:lnTo>
                    <a:pt x="7617" y="5651"/>
                  </a:lnTo>
                  <a:close/>
                  <a:moveTo>
                    <a:pt x="7617" y="3516"/>
                  </a:moveTo>
                  <a:lnTo>
                    <a:pt x="7617" y="4521"/>
                  </a:lnTo>
                  <a:lnTo>
                    <a:pt x="13756" y="4521"/>
                  </a:lnTo>
                  <a:lnTo>
                    <a:pt x="13756" y="3516"/>
                  </a:lnTo>
                  <a:lnTo>
                    <a:pt x="7617" y="3516"/>
                  </a:lnTo>
                  <a:close/>
                  <a:moveTo>
                    <a:pt x="10118" y="17330"/>
                  </a:moveTo>
                  <a:lnTo>
                    <a:pt x="11368" y="17079"/>
                  </a:lnTo>
                  <a:lnTo>
                    <a:pt x="12733" y="17079"/>
                  </a:lnTo>
                  <a:lnTo>
                    <a:pt x="11596" y="15698"/>
                  </a:lnTo>
                  <a:lnTo>
                    <a:pt x="10345" y="14065"/>
                  </a:lnTo>
                  <a:lnTo>
                    <a:pt x="10118" y="15698"/>
                  </a:lnTo>
                  <a:lnTo>
                    <a:pt x="10118" y="17330"/>
                  </a:lnTo>
                  <a:close/>
                  <a:moveTo>
                    <a:pt x="19213" y="4521"/>
                  </a:moveTo>
                  <a:lnTo>
                    <a:pt x="11368" y="12935"/>
                  </a:lnTo>
                  <a:lnTo>
                    <a:pt x="13756" y="15949"/>
                  </a:lnTo>
                  <a:lnTo>
                    <a:pt x="21600" y="7535"/>
                  </a:lnTo>
                  <a:lnTo>
                    <a:pt x="19213" y="4521"/>
                  </a:ln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txBody>
            <a:bodyPr lIns="45719" rIns="45719"/>
            <a:lstStyle/>
            <a:p>
              <a:endParaRPr lang="ru-RU" sz="1500" dirty="0"/>
            </a:p>
          </p:txBody>
        </p:sp>
      </p:grpSp>
      <p:pic>
        <p:nvPicPr>
          <p:cNvPr id="56" name="Picture 2" descr="C:\Users\g.aigozina\Desktop\Публикация\4. 2023 Пиктограммы\связь.png"/>
          <p:cNvPicPr>
            <a:picLocks noChangeAspect="1" noChangeArrowheads="1"/>
          </p:cNvPicPr>
          <p:nvPr/>
        </p:nvPicPr>
        <p:blipFill>
          <a:blip r:embed="rId3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0319" y="62349"/>
            <a:ext cx="357188" cy="354806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7" name="TextBox 56">
            <a:extLst>
              <a:ext uri="{FF2B5EF4-FFF2-40B4-BE49-F238E27FC236}">
                <a16:creationId xmlns:a16="http://schemas.microsoft.com/office/drawing/2014/main" xmlns="" id="{F206E81B-FF72-47E6-8637-5C78CAD1CD42}"/>
              </a:ext>
            </a:extLst>
          </p:cNvPr>
          <p:cNvSpPr txBox="1"/>
          <p:nvPr/>
        </p:nvSpPr>
        <p:spPr>
          <a:xfrm>
            <a:off x="693165" y="89597"/>
            <a:ext cx="4576883" cy="284693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>
              <a:buClr>
                <a:srgbClr val="000000"/>
              </a:buClr>
            </a:pPr>
            <a:r>
              <a:rPr lang="ru-RU" b="1" dirty="0">
                <a:solidFill>
                  <a:schemeClr val="accent1">
                    <a:lumMod val="75000"/>
                  </a:schemeClr>
                </a:solidFill>
              </a:rPr>
              <a:t>Статистика </a:t>
            </a:r>
            <a:r>
              <a:rPr lang="ru-RU" b="1" dirty="0" smtClean="0">
                <a:solidFill>
                  <a:schemeClr val="accent1">
                    <a:lumMod val="75000"/>
                  </a:schemeClr>
                </a:solidFill>
              </a:rPr>
              <a:t>туризма</a:t>
            </a:r>
            <a:endParaRPr lang="ru-RU" b="1" dirty="0">
              <a:solidFill>
                <a:schemeClr val="bg1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pic>
        <p:nvPicPr>
          <p:cNvPr id="2050" name="Picture 2"/>
          <p:cNvPicPr>
            <a:picLocks noChangeAspect="1" noChangeArrowheads="1"/>
          </p:cNvPicPr>
          <p:nvPr/>
        </p:nvPicPr>
        <p:blipFill>
          <a:blip r:embed="rId4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0" y="695212"/>
            <a:ext cx="4891178" cy="4001873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=""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</p:pic>
      <p:sp>
        <p:nvSpPr>
          <p:cNvPr id="72" name="Прямоугольник 71"/>
          <p:cNvSpPr/>
          <p:nvPr/>
        </p:nvSpPr>
        <p:spPr>
          <a:xfrm>
            <a:off x="1818017" y="1048110"/>
            <a:ext cx="1035169" cy="99257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lvl="0" algn="ctr"/>
            <a:r>
              <a:rPr lang="ru-RU" sz="600" b="1" dirty="0" smtClean="0">
                <a:solidFill>
                  <a:schemeClr val="bg1"/>
                </a:solidFill>
              </a:rPr>
              <a:t>количество посетителей въездного туризма, включен как целевой индикатор в  Государственную программу развития туристской отрасли Республики Казахстан на 2019-2025 годы;</a:t>
            </a:r>
            <a:endParaRPr lang="ru-RU" sz="600" b="1" dirty="0">
              <a:solidFill>
                <a:schemeClr val="bg1"/>
              </a:solidFill>
            </a:endParaRPr>
          </a:p>
        </p:txBody>
      </p:sp>
      <p:sp>
        <p:nvSpPr>
          <p:cNvPr id="39" name="Прямоугольник 38"/>
          <p:cNvSpPr/>
          <p:nvPr/>
        </p:nvSpPr>
        <p:spPr>
          <a:xfrm>
            <a:off x="2969644" y="1132218"/>
            <a:ext cx="1080458" cy="900247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lvl="0" algn="ctr"/>
            <a:r>
              <a:rPr lang="ru-RU" sz="600" b="1" dirty="0" smtClean="0">
                <a:solidFill>
                  <a:schemeClr val="bg1"/>
                </a:solidFill>
              </a:rPr>
              <a:t>количество посетителей выездного туризма, включен как целевой индикатор в  Государственную программу развития туристской отрасли Республики Казахстан на 2019-2025 годы;</a:t>
            </a:r>
            <a:endParaRPr lang="ru-RU" sz="600" b="1" dirty="0">
              <a:solidFill>
                <a:schemeClr val="bg1"/>
              </a:solidFill>
            </a:endParaRPr>
          </a:p>
        </p:txBody>
      </p:sp>
      <p:sp>
        <p:nvSpPr>
          <p:cNvPr id="40" name="Прямоугольник 39"/>
          <p:cNvSpPr/>
          <p:nvPr/>
        </p:nvSpPr>
        <p:spPr>
          <a:xfrm>
            <a:off x="1229265" y="2109159"/>
            <a:ext cx="1048109" cy="99257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lvl="0" algn="ctr"/>
            <a:r>
              <a:rPr lang="ru-RU" sz="600" b="1" dirty="0" smtClean="0">
                <a:solidFill>
                  <a:schemeClr val="bg1"/>
                </a:solidFill>
              </a:rPr>
              <a:t>количество посетителей внутреннего туризма, включен как целевой индикатор в  Государственную программу развития туристской отрасли Республики Казахстан на 2019-2025 годы;</a:t>
            </a:r>
            <a:endParaRPr lang="ru-RU" sz="600" b="1" dirty="0">
              <a:solidFill>
                <a:schemeClr val="bg1"/>
              </a:solidFill>
            </a:endParaRPr>
          </a:p>
        </p:txBody>
      </p:sp>
      <p:sp>
        <p:nvSpPr>
          <p:cNvPr id="41" name="Прямоугольник 40"/>
          <p:cNvSpPr/>
          <p:nvPr/>
        </p:nvSpPr>
        <p:spPr>
          <a:xfrm>
            <a:off x="2393832" y="2290314"/>
            <a:ext cx="1183975" cy="900247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lvl="0" algn="ctr">
              <a:defRPr/>
            </a:pPr>
            <a:r>
              <a:rPr lang="ru-RU" sz="600" b="1" dirty="0" smtClean="0">
                <a:solidFill>
                  <a:schemeClr val="bg1"/>
                </a:solidFill>
              </a:rPr>
              <a:t>объем оказанных услуг  местами размещения, включен как целевой индикатор в  Государственную программу развития туристской отрасли Республики Казахстан на 2019-2025 годы;</a:t>
            </a:r>
          </a:p>
        </p:txBody>
      </p:sp>
      <p:sp>
        <p:nvSpPr>
          <p:cNvPr id="42" name="Прямоугольник 41"/>
          <p:cNvSpPr/>
          <p:nvPr/>
        </p:nvSpPr>
        <p:spPr>
          <a:xfrm>
            <a:off x="3597214" y="2452058"/>
            <a:ext cx="1086929" cy="25391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lvl="0" algn="ctr">
              <a:defRPr/>
            </a:pPr>
            <a:r>
              <a:rPr lang="ru-RU" sz="600" b="1" dirty="0" smtClean="0">
                <a:solidFill>
                  <a:schemeClr val="bg1"/>
                </a:solidFill>
              </a:rPr>
              <a:t>количество мест размещения;</a:t>
            </a:r>
          </a:p>
        </p:txBody>
      </p:sp>
      <p:sp>
        <p:nvSpPr>
          <p:cNvPr id="45" name="Прямоугольник 44"/>
          <p:cNvSpPr/>
          <p:nvPr/>
        </p:nvSpPr>
        <p:spPr>
          <a:xfrm>
            <a:off x="718150" y="3603685"/>
            <a:ext cx="918713" cy="25391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lvl="0" algn="ctr"/>
            <a:r>
              <a:rPr lang="ru-RU" sz="600" b="1" dirty="0" err="1" smtClean="0">
                <a:solidFill>
                  <a:schemeClr val="bg1"/>
                </a:solidFill>
              </a:rPr>
              <a:t>заполняемость</a:t>
            </a:r>
            <a:r>
              <a:rPr lang="ru-RU" sz="600" b="1" dirty="0" smtClean="0">
                <a:solidFill>
                  <a:schemeClr val="bg1"/>
                </a:solidFill>
              </a:rPr>
              <a:t> койко-мест;</a:t>
            </a:r>
            <a:endParaRPr lang="ru-RU" sz="600" b="1" dirty="0">
              <a:solidFill>
                <a:schemeClr val="bg1"/>
              </a:solidFill>
            </a:endParaRPr>
          </a:p>
        </p:txBody>
      </p:sp>
      <p:sp>
        <p:nvSpPr>
          <p:cNvPr id="46" name="Прямоугольник 45"/>
          <p:cNvSpPr/>
          <p:nvPr/>
        </p:nvSpPr>
        <p:spPr>
          <a:xfrm>
            <a:off x="1908595" y="3520178"/>
            <a:ext cx="1015761" cy="25391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lvl="0" algn="ctr"/>
            <a:r>
              <a:rPr lang="ru-RU" sz="600" b="1" dirty="0" smtClean="0">
                <a:solidFill>
                  <a:schemeClr val="bg1"/>
                </a:solidFill>
              </a:rPr>
              <a:t>предоставлено </a:t>
            </a:r>
            <a:r>
              <a:rPr lang="ru-RU" sz="600" b="1" dirty="0" err="1" smtClean="0">
                <a:solidFill>
                  <a:schemeClr val="bg1"/>
                </a:solidFill>
              </a:rPr>
              <a:t>койко-суток</a:t>
            </a:r>
            <a:r>
              <a:rPr lang="ru-RU" sz="600" b="1" dirty="0" smtClean="0">
                <a:solidFill>
                  <a:schemeClr val="bg1"/>
                </a:solidFill>
              </a:rPr>
              <a:t>;</a:t>
            </a:r>
            <a:endParaRPr lang="ru-RU" sz="600" b="1" dirty="0">
              <a:solidFill>
                <a:schemeClr val="bg1"/>
              </a:solidFill>
            </a:endParaRPr>
          </a:p>
        </p:txBody>
      </p:sp>
      <p:sp>
        <p:nvSpPr>
          <p:cNvPr id="47" name="Прямоугольник 46"/>
          <p:cNvSpPr/>
          <p:nvPr/>
        </p:nvSpPr>
        <p:spPr>
          <a:xfrm>
            <a:off x="3111980" y="3474289"/>
            <a:ext cx="841076" cy="377026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lvl="0" algn="ctr"/>
            <a:r>
              <a:rPr lang="ru-RU" sz="600" b="1" dirty="0" smtClean="0">
                <a:solidFill>
                  <a:schemeClr val="bg1"/>
                </a:solidFill>
              </a:rPr>
              <a:t>количество</a:t>
            </a:r>
            <a:r>
              <a:rPr lang="ru-RU" b="1" dirty="0" smtClean="0">
                <a:solidFill>
                  <a:schemeClr val="bg1"/>
                </a:solidFill>
              </a:rPr>
              <a:t> </a:t>
            </a:r>
            <a:r>
              <a:rPr lang="ru-RU" sz="600" b="1" dirty="0" smtClean="0">
                <a:solidFill>
                  <a:schemeClr val="bg1"/>
                </a:solidFill>
              </a:rPr>
              <a:t>сданных номеров</a:t>
            </a:r>
            <a:endParaRPr lang="ru-RU" sz="600" b="1" dirty="0">
              <a:solidFill>
                <a:schemeClr val="bg1"/>
              </a:solidFill>
            </a:endParaRPr>
          </a:p>
        </p:txBody>
      </p:sp>
      <p:cxnSp>
        <p:nvCxnSpPr>
          <p:cNvPr id="50" name="Google Shape;855;g477128686a_0_179">
            <a:extLst>
              <a:ext uri="{FF2B5EF4-FFF2-40B4-BE49-F238E27FC236}">
                <a16:creationId xmlns="" xmlns:a16="http://schemas.microsoft.com/office/drawing/2014/main" id="{B9CD6FC2-76BC-49A4-AAB6-588F97D241D8}"/>
              </a:ext>
            </a:extLst>
          </p:cNvPr>
          <p:cNvCxnSpPr/>
          <p:nvPr/>
        </p:nvCxnSpPr>
        <p:spPr>
          <a:xfrm>
            <a:off x="5319446" y="3775680"/>
            <a:ext cx="3504425" cy="1"/>
          </a:xfrm>
          <a:prstGeom prst="straightConnector1">
            <a:avLst/>
          </a:prstGeom>
          <a:noFill/>
          <a:ln w="19050" cap="flat" cmpd="sng">
            <a:solidFill>
              <a:srgbClr val="002060"/>
            </a:solidFill>
            <a:prstDash val="solid"/>
            <a:miter lim="800000"/>
            <a:headEnd type="none" w="sm" len="sm"/>
            <a:tailEnd type="triangle" w="med" len="med"/>
          </a:ln>
        </p:spPr>
      </p:cxnSp>
      <p:sp>
        <p:nvSpPr>
          <p:cNvPr id="51" name="Google Shape;858;g477128686a_0_179">
            <a:extLst>
              <a:ext uri="{FF2B5EF4-FFF2-40B4-BE49-F238E27FC236}">
                <a16:creationId xmlns="" xmlns:a16="http://schemas.microsoft.com/office/drawing/2014/main" id="{099A66DC-5F13-471D-A524-5BE795A5D948}"/>
              </a:ext>
            </a:extLst>
          </p:cNvPr>
          <p:cNvSpPr/>
          <p:nvPr/>
        </p:nvSpPr>
        <p:spPr>
          <a:xfrm>
            <a:off x="6150938" y="3520327"/>
            <a:ext cx="1777495" cy="551439"/>
          </a:xfrm>
          <a:prstGeom prst="ellipse">
            <a:avLst/>
          </a:prstGeom>
          <a:solidFill>
            <a:schemeClr val="lt1"/>
          </a:solidFill>
          <a:ln w="19050" cap="flat" cmpd="sng">
            <a:solidFill>
              <a:srgbClr val="002060"/>
            </a:solidFill>
            <a:prstDash val="solid"/>
            <a:miter lim="800000"/>
            <a:headEnd type="none" w="sm" len="sm"/>
            <a:tailEnd type="none" w="sm" len="sm"/>
          </a:ln>
        </p:spPr>
        <p:txBody>
          <a:bodyPr spcFirstLastPara="1" wrap="square" lIns="91415" tIns="45695" rIns="91415" bIns="45695" anchor="ctr" anchorCtr="0">
            <a:noAutofit/>
          </a:bodyPr>
          <a:lstStyle/>
          <a:p>
            <a:pPr lvl="0" algn="ctr"/>
            <a:r>
              <a:rPr lang="ru-RU" sz="1100" b="1" dirty="0" smtClean="0">
                <a:solidFill>
                  <a:srgbClr val="002060"/>
                </a:solidFill>
              </a:rPr>
              <a:t>Ежеквартально</a:t>
            </a:r>
            <a:endParaRPr lang="ru-RU" sz="1100" b="1" dirty="0">
              <a:solidFill>
                <a:srgbClr val="002060"/>
              </a:solidFill>
            </a:endParaRPr>
          </a:p>
        </p:txBody>
      </p:sp>
      <p:sp>
        <p:nvSpPr>
          <p:cNvPr id="52" name="Прямоугольник 51"/>
          <p:cNvSpPr/>
          <p:nvPr/>
        </p:nvSpPr>
        <p:spPr>
          <a:xfrm>
            <a:off x="5772504" y="2963175"/>
            <a:ext cx="2778712" cy="346249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algn="ctr"/>
            <a:r>
              <a:rPr lang="ru-RU" sz="900" b="1" dirty="0" smtClean="0">
                <a:solidFill>
                  <a:srgbClr val="002060"/>
                </a:solidFill>
              </a:rPr>
              <a:t>«О выборочном обследовании въездных посетителей в Республике Казахстан»</a:t>
            </a:r>
            <a:endParaRPr lang="ru-RU" sz="900" b="1" dirty="0">
              <a:solidFill>
                <a:srgbClr val="002060"/>
              </a:solidFill>
            </a:endParaRPr>
          </a:p>
        </p:txBody>
      </p:sp>
      <p:sp>
        <p:nvSpPr>
          <p:cNvPr id="53" name="Прямоугольник 52"/>
          <p:cNvSpPr/>
          <p:nvPr/>
        </p:nvSpPr>
        <p:spPr>
          <a:xfrm>
            <a:off x="6482751" y="2749670"/>
            <a:ext cx="1345721" cy="109987"/>
          </a:xfrm>
          <a:prstGeom prst="rect">
            <a:avLst/>
          </a:prstGeom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dk1">
              <a:hueOff val="0"/>
              <a:satOff val="0"/>
              <a:lumOff val="0"/>
              <a:alphaOff val="0"/>
            </a:schemeClr>
          </a:fontRef>
        </p:style>
        <p:txBody>
          <a:bodyPr spcFirstLastPara="0" vert="horz" wrap="square" lIns="76010" tIns="76010" rIns="101346" bIns="114014" numCol="1" spcCol="953" anchor="t" anchorCtr="0">
            <a:noAutofit/>
          </a:bodyPr>
          <a:lstStyle/>
          <a:p>
            <a:pPr marL="255985" indent="-255985" defTabSz="684610"/>
            <a:r>
              <a:rPr lang="ru-RU" sz="800" i="1" dirty="0" smtClean="0"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Электронные таблицы</a:t>
            </a:r>
          </a:p>
        </p:txBody>
      </p:sp>
    </p:spTree>
    <p:extLst>
      <p:ext uri="{BB962C8B-B14F-4D97-AF65-F5344CB8AC3E}">
        <p14:creationId xmlns="" xmlns:p14="http://schemas.microsoft.com/office/powerpoint/2010/main" val="17575681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387" name="Прямоугольник 4">
            <a:extLst>
              <a:ext uri="{FF2B5EF4-FFF2-40B4-BE49-F238E27FC236}">
                <a16:creationId xmlns:a16="http://schemas.microsoft.com/office/drawing/2014/main" xmlns="" id="{0372E3E2-9715-43FB-8515-EA37D3D631E2}"/>
              </a:ext>
            </a:extLst>
          </p:cNvPr>
          <p:cNvSpPr>
            <a:spLocks noChangeArrowheads="1"/>
          </p:cNvSpPr>
          <p:nvPr/>
        </p:nvSpPr>
        <p:spPr bwMode="auto">
          <a:xfrm>
            <a:off x="-324248" y="91378"/>
            <a:ext cx="7810898" cy="346249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ctr" eaLnBrk="1" hangingPunct="1"/>
            <a:r>
              <a:rPr lang="ru-RU" altLang="x-none" sz="1650" b="1" dirty="0">
                <a:solidFill>
                  <a:srgbClr val="002060"/>
                </a:solidFill>
                <a:latin typeface="Times New Roman" panose="02020603050405020304" pitchFamily="18" charset="0"/>
                <a:cs typeface="Times New Roman" panose="02020603050405020304" pitchFamily="18" charset="0"/>
              </a:rPr>
              <a:t>Дополнительная информация, характеризующая развитие сферы туризма</a:t>
            </a:r>
            <a:endParaRPr lang="ru-RU" altLang="x-none" sz="1650" b="1" dirty="0">
              <a:solidFill>
                <a:srgbClr val="002060"/>
              </a:solidFill>
              <a:latin typeface="Calibri" panose="020F0502020204030204" pitchFamily="34" charset="0"/>
            </a:endParaRPr>
          </a:p>
        </p:txBody>
      </p:sp>
      <p:sp>
        <p:nvSpPr>
          <p:cNvPr id="16388" name="TextBox 6">
            <a:extLst>
              <a:ext uri="{FF2B5EF4-FFF2-40B4-BE49-F238E27FC236}">
                <a16:creationId xmlns:a16="http://schemas.microsoft.com/office/drawing/2014/main" xmlns="" id="{FB7FA0AD-3C8F-48AA-8C10-CA91BEFB42B1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6457950" y="4521042"/>
            <a:ext cx="239395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x-none" sz="1000" b="1" dirty="0">
                <a:solidFill>
                  <a:srgbClr val="002060"/>
                </a:solidFill>
              </a:rPr>
              <a:t>Статистика  национальных счетов</a:t>
            </a:r>
          </a:p>
        </p:txBody>
      </p:sp>
      <p:sp>
        <p:nvSpPr>
          <p:cNvPr id="16389" name="Прямоугольник 12">
            <a:extLst>
              <a:ext uri="{FF2B5EF4-FFF2-40B4-BE49-F238E27FC236}">
                <a16:creationId xmlns:a16="http://schemas.microsoft.com/office/drawing/2014/main" xmlns="" id="{ACF00EB2-081D-4092-9C4D-329E3910472F}"/>
              </a:ext>
            </a:extLst>
          </p:cNvPr>
          <p:cNvSpPr>
            <a:spLocks noChangeArrowheads="1"/>
          </p:cNvSpPr>
          <p:nvPr/>
        </p:nvSpPr>
        <p:spPr bwMode="auto">
          <a:xfrm>
            <a:off x="5187553" y="2951560"/>
            <a:ext cx="379730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just" eaLnBrk="1" hangingPunct="1"/>
            <a:r>
              <a:rPr lang="ru-RU" altLang="x-none" sz="1000" b="1" dirty="0">
                <a:solidFill>
                  <a:srgbClr val="002060"/>
                </a:solidFill>
              </a:rPr>
              <a:t>Структурная статистика</a:t>
            </a:r>
          </a:p>
        </p:txBody>
      </p:sp>
      <p:sp>
        <p:nvSpPr>
          <p:cNvPr id="16390" name="Прямоугольник 13">
            <a:extLst>
              <a:ext uri="{FF2B5EF4-FFF2-40B4-BE49-F238E27FC236}">
                <a16:creationId xmlns:a16="http://schemas.microsoft.com/office/drawing/2014/main" xmlns="" id="{30C33AA4-C928-4184-A353-5AF1F44FD3BB}"/>
              </a:ext>
            </a:extLst>
          </p:cNvPr>
          <p:cNvSpPr>
            <a:spLocks noChangeArrowheads="1"/>
          </p:cNvSpPr>
          <p:nvPr/>
        </p:nvSpPr>
        <p:spPr bwMode="auto">
          <a:xfrm>
            <a:off x="5969596" y="3810468"/>
            <a:ext cx="1714898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x-none" sz="1000" b="1" dirty="0">
                <a:solidFill>
                  <a:srgbClr val="002060"/>
                </a:solidFill>
              </a:rPr>
              <a:t>Статистика труда</a:t>
            </a:r>
          </a:p>
        </p:txBody>
      </p:sp>
      <p:sp>
        <p:nvSpPr>
          <p:cNvPr id="16391" name="Прямоугольник 16">
            <a:extLst>
              <a:ext uri="{FF2B5EF4-FFF2-40B4-BE49-F238E27FC236}">
                <a16:creationId xmlns:a16="http://schemas.microsoft.com/office/drawing/2014/main" xmlns="" id="{CBE91AC0-DEAB-4314-843D-ED4512D38C5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355703" y="1458390"/>
            <a:ext cx="2362597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algn="just" eaLnBrk="1" hangingPunct="1"/>
            <a:r>
              <a:rPr lang="ru-RU" altLang="x-none" sz="1000" b="1" dirty="0">
                <a:solidFill>
                  <a:srgbClr val="002060"/>
                </a:solidFill>
              </a:rPr>
              <a:t>Статистика торговли</a:t>
            </a:r>
          </a:p>
        </p:txBody>
      </p:sp>
      <p:sp>
        <p:nvSpPr>
          <p:cNvPr id="16392" name="Прямоугольник 17">
            <a:extLst>
              <a:ext uri="{FF2B5EF4-FFF2-40B4-BE49-F238E27FC236}">
                <a16:creationId xmlns:a16="http://schemas.microsoft.com/office/drawing/2014/main" xmlns="" id="{14F2190F-4F2B-4AE0-BF7D-205E20EB8B7A}"/>
              </a:ext>
            </a:extLst>
          </p:cNvPr>
          <p:cNvSpPr>
            <a:spLocks noChangeArrowheads="1"/>
          </p:cNvSpPr>
          <p:nvPr/>
        </p:nvSpPr>
        <p:spPr bwMode="auto">
          <a:xfrm>
            <a:off x="4788298" y="2196711"/>
            <a:ext cx="2362597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x-none" sz="1000" b="1" dirty="0">
                <a:solidFill>
                  <a:srgbClr val="002060"/>
                </a:solidFill>
              </a:rPr>
              <a:t>Социальная статистика</a:t>
            </a:r>
          </a:p>
        </p:txBody>
      </p:sp>
      <p:sp>
        <p:nvSpPr>
          <p:cNvPr id="16393" name="Прямоугольник 18">
            <a:extLst>
              <a:ext uri="{FF2B5EF4-FFF2-40B4-BE49-F238E27FC236}">
                <a16:creationId xmlns:a16="http://schemas.microsoft.com/office/drawing/2014/main" xmlns="" id="{64163BEF-FA0F-465B-AFB5-1D94DA1AD6C3}"/>
              </a:ext>
            </a:extLst>
          </p:cNvPr>
          <p:cNvSpPr>
            <a:spLocks noChangeArrowheads="1"/>
          </p:cNvSpPr>
          <p:nvPr/>
        </p:nvSpPr>
        <p:spPr bwMode="auto">
          <a:xfrm>
            <a:off x="3794127" y="824264"/>
            <a:ext cx="4032250" cy="24622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r>
              <a:rPr lang="ru-RU" altLang="x-none" sz="1000" b="1" dirty="0">
                <a:solidFill>
                  <a:srgbClr val="002060"/>
                </a:solidFill>
              </a:rPr>
              <a:t>Статистика инвестиций</a:t>
            </a:r>
          </a:p>
        </p:txBody>
      </p:sp>
      <p:graphicFrame>
        <p:nvGraphicFramePr>
          <p:cNvPr id="20" name="Схема 19">
            <a:extLst>
              <a:ext uri="{FF2B5EF4-FFF2-40B4-BE49-F238E27FC236}">
                <a16:creationId xmlns:a16="http://schemas.microsoft.com/office/drawing/2014/main" xmlns="" id="{ACB72F69-A2CF-481D-805E-40C5DC1E22AD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xmlns="" val="3531508792"/>
              </p:ext>
            </p:extLst>
          </p:nvPr>
        </p:nvGraphicFramePr>
        <p:xfrm>
          <a:off x="774290" y="4232190"/>
          <a:ext cx="5480460" cy="9588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" r:lo="rId3" r:qs="rId4" r:cs="rId5"/>
          </a:graphicData>
        </a:graphic>
      </p:graphicFrame>
      <p:graphicFrame>
        <p:nvGraphicFramePr>
          <p:cNvPr id="21" name="Схема 20">
            <a:extLst>
              <a:ext uri="{FF2B5EF4-FFF2-40B4-BE49-F238E27FC236}">
                <a16:creationId xmlns:a16="http://schemas.microsoft.com/office/drawing/2014/main" xmlns="" id="{6B213FB4-9E5D-4226-BE33-CD4FADA9D828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xmlns="" val="736790171"/>
              </p:ext>
            </p:extLst>
          </p:nvPr>
        </p:nvGraphicFramePr>
        <p:xfrm>
          <a:off x="774700" y="2588340"/>
          <a:ext cx="4311650" cy="115915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6" r:lo="rId7" r:qs="rId8" r:cs="rId9"/>
          </a:graphicData>
        </a:graphic>
      </p:graphicFrame>
      <p:graphicFrame>
        <p:nvGraphicFramePr>
          <p:cNvPr id="22" name="Схема 21">
            <a:extLst>
              <a:ext uri="{FF2B5EF4-FFF2-40B4-BE49-F238E27FC236}">
                <a16:creationId xmlns:a16="http://schemas.microsoft.com/office/drawing/2014/main" xmlns="" id="{495D1291-DC39-4CEA-860D-DC674081809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xmlns="" val="388831969"/>
              </p:ext>
            </p:extLst>
          </p:nvPr>
        </p:nvGraphicFramePr>
        <p:xfrm>
          <a:off x="774701" y="533412"/>
          <a:ext cx="2559049" cy="8128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0" r:lo="rId11" r:qs="rId12" r:cs="rId13"/>
          </a:graphicData>
        </a:graphic>
      </p:graphicFrame>
      <p:graphicFrame>
        <p:nvGraphicFramePr>
          <p:cNvPr id="23" name="Схема 22">
            <a:extLst>
              <a:ext uri="{FF2B5EF4-FFF2-40B4-BE49-F238E27FC236}">
                <a16:creationId xmlns:a16="http://schemas.microsoft.com/office/drawing/2014/main" xmlns="" id="{A4630989-E036-42A3-ABDE-BD8928C6C951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xmlns="" val="1362344654"/>
              </p:ext>
            </p:extLst>
          </p:nvPr>
        </p:nvGraphicFramePr>
        <p:xfrm>
          <a:off x="774700" y="1918503"/>
          <a:ext cx="3625850" cy="946151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4" r:lo="rId15" r:qs="rId16" r:cs="rId17"/>
          </a:graphicData>
        </a:graphic>
      </p:graphicFrame>
      <p:graphicFrame>
        <p:nvGraphicFramePr>
          <p:cNvPr id="24" name="Схема 23">
            <a:extLst>
              <a:ext uri="{FF2B5EF4-FFF2-40B4-BE49-F238E27FC236}">
                <a16:creationId xmlns:a16="http://schemas.microsoft.com/office/drawing/2014/main" xmlns="" id="{DB2FFDA0-39DF-4258-9A33-94A465A8099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xmlns="" val="2572486804"/>
              </p:ext>
            </p:extLst>
          </p:nvPr>
        </p:nvGraphicFramePr>
        <p:xfrm>
          <a:off x="774700" y="3462638"/>
          <a:ext cx="4991099" cy="1028700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18" r:lo="rId19" r:qs="rId20" r:cs="rId21"/>
          </a:graphicData>
        </a:graphic>
      </p:graphicFrame>
      <p:graphicFrame>
        <p:nvGraphicFramePr>
          <p:cNvPr id="25" name="Схема 24">
            <a:extLst>
              <a:ext uri="{FF2B5EF4-FFF2-40B4-BE49-F238E27FC236}">
                <a16:creationId xmlns:a16="http://schemas.microsoft.com/office/drawing/2014/main" xmlns="" id="{BC52A486-EB4D-4ED3-8758-94C4AFFECA6E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xmlns="" val="1294451036"/>
              </p:ext>
            </p:extLst>
          </p:nvPr>
        </p:nvGraphicFramePr>
        <p:xfrm>
          <a:off x="781038" y="1207379"/>
          <a:ext cx="3013089" cy="886469"/>
        </p:xfrm>
        <a:graphic>
          <a:graphicData uri="http://schemas.openxmlformats.org/drawingml/2006/diagram">
            <dgm:relIds xmlns:dgm="http://schemas.openxmlformats.org/drawingml/2006/diagram" xmlns:r="http://schemas.openxmlformats.org/officeDocument/2006/relationships" r:dm="rId22" r:lo="rId23" r:qs="rId24" r:cs="rId25"/>
          </a:graphicData>
        </a:graphic>
      </p:graphicFrame>
      <p:sp>
        <p:nvSpPr>
          <p:cNvPr id="27" name="Номер слайда 26">
            <a:extLst>
              <a:ext uri="{FF2B5EF4-FFF2-40B4-BE49-F238E27FC236}">
                <a16:creationId xmlns:a16="http://schemas.microsoft.com/office/drawing/2014/main" xmlns="" id="{7CBA0CD4-3A76-4BF7-8C18-3BE535EC021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  <a:lvl2pPr marL="557213" indent="-214313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2pPr>
            <a:lvl3pPr marL="857250" indent="-171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3pPr>
            <a:lvl4pPr marL="1200150" indent="-171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4pPr>
            <a:lvl5pPr marL="1543050" indent="-171450" eaLnBrk="0" hangingPunct="0"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5pPr>
            <a:lvl6pPr marL="18859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6pPr>
            <a:lvl7pPr marL="22288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7pPr>
            <a:lvl8pPr marL="25717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8pPr>
            <a:lvl9pPr marL="2914650" indent="-17145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9pPr>
          </a:lstStyle>
          <a:p>
            <a:pPr eaLnBrk="1" hangingPunct="1"/>
            <a:fld id="{1B745BE7-6D3F-4F81-97A0-0E0A0ED7B033}" type="slidenum">
              <a:rPr lang="en-US" altLang="x-none">
                <a:solidFill>
                  <a:srgbClr val="FFFFFF"/>
                </a:solidFill>
                <a:latin typeface="Calibri" panose="020F0502020204030204" pitchFamily="34" charset="0"/>
              </a:rPr>
              <a:pPr eaLnBrk="1" hangingPunct="1"/>
              <a:t>4</a:t>
            </a:fld>
            <a:endParaRPr lang="en-US" altLang="x-none" dirty="0">
              <a:solidFill>
                <a:srgbClr val="FFFFFF"/>
              </a:solidFill>
              <a:latin typeface="Calibri" panose="020F0502020204030204" pitchFamily="34" charset="0"/>
            </a:endParaRPr>
          </a:p>
        </p:txBody>
      </p:sp>
    </p:spTree>
  </p:cSld>
  <p:clrMapOvr>
    <a:masterClrMapping/>
  </p:clrMapOvr>
  <p:transition spd="med">
    <p:pull dir="ld"/>
  </p:transition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xmlns="" id="{B84D0045-FE85-4BB3-BE9A-9209D67C87FC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p:oleObj spid="_x0000_s199693" name="think-cell Slide" r:id="rId5" imgW="0" imgH="0" progId="">
              <p:embed/>
            </p:oleObj>
          </a:graphicData>
        </a:graphic>
      </p:graphicFrame>
      <p:sp>
        <p:nvSpPr>
          <p:cNvPr id="138" name="Rectangle 137" hidden="1">
            <a:extLst>
              <a:ext uri="{FF2B5EF4-FFF2-40B4-BE49-F238E27FC236}">
                <a16:creationId xmlns:a16="http://schemas.microsoft.com/office/drawing/2014/main" xmlns="" id="{A85C1ADC-88D6-4290-A766-C7AD7354CD8B}"/>
              </a:ext>
            </a:extLst>
          </p:cNvPr>
          <p:cNvSpPr/>
          <p:nvPr/>
        </p:nvSpPr>
        <p:spPr>
          <a:xfrm>
            <a:off x="0" y="0"/>
            <a:ext cx="158750" cy="158750"/>
          </a:xfrm>
          <a:prstGeom prst="rect">
            <a:avLst/>
          </a:prstGeom>
          <a:solidFill>
            <a:schemeClr val="accent1"/>
          </a:solidFill>
          <a:ln w="9525">
            <a:solidFill>
              <a:schemeClr val="accent6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algn="ctr"/>
            <a:endParaRPr lang="en-US" sz="1071" dirty="0">
              <a:solidFill>
                <a:schemeClr val="tx1"/>
              </a:solidFill>
            </a:endParaRPr>
          </a:p>
        </p:txBody>
      </p:sp>
      <p:cxnSp>
        <p:nvCxnSpPr>
          <p:cNvPr id="66" name="Straight Connector 65">
            <a:extLst>
              <a:ext uri="{FF2B5EF4-FFF2-40B4-BE49-F238E27FC236}">
                <a16:creationId xmlns:a16="http://schemas.microsoft.com/office/drawing/2014/main" xmlns="" id="{93D02CA3-50A5-4C88-9565-C8BA5489B701}"/>
              </a:ext>
            </a:extLst>
          </p:cNvPr>
          <p:cNvCxnSpPr/>
          <p:nvPr/>
        </p:nvCxnSpPr>
        <p:spPr>
          <a:xfrm>
            <a:off x="0" y="369080"/>
            <a:ext cx="914400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1" name="Rectangle: Rounded Corners 2">
            <a:extLst>
              <a:ext uri="{FF2B5EF4-FFF2-40B4-BE49-F238E27FC236}">
                <a16:creationId xmlns:a16="http://schemas.microsoft.com/office/drawing/2014/main" xmlns="" id="{E17903DE-40AD-4747-A14E-A6937B6539B7}"/>
              </a:ext>
            </a:extLst>
          </p:cNvPr>
          <p:cNvSpPr/>
          <p:nvPr/>
        </p:nvSpPr>
        <p:spPr bwMode="auto">
          <a:xfrm>
            <a:off x="3265713" y="3503221"/>
            <a:ext cx="5937662" cy="525482"/>
          </a:xfrm>
          <a:prstGeom prst="roundRect">
            <a:avLst>
              <a:gd name="adj" fmla="val 11886"/>
            </a:avLst>
          </a:prstGeom>
          <a:noFill/>
          <a:ln w="19050"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defTabSz="517922">
              <a:buClrTx/>
              <a:defRPr/>
            </a:pPr>
            <a:endParaRPr lang="ru-RU" sz="1300" b="1" dirty="0">
              <a:solidFill>
                <a:srgbClr val="002060"/>
              </a:solidFill>
              <a:latin typeface="Arial" panose="020B0604020202020204" pitchFamily="34" charset="0"/>
              <a:ea typeface="Calibri" panose="020F050202020403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11" name="Диаграмма 10">
            <a:extLst>
              <a:ext uri="{FF2B5EF4-FFF2-40B4-BE49-F238E27FC236}">
                <a16:creationId xmlns:a16="http://schemas.microsoft.com/office/drawing/2014/main" xmlns="" id="{0C22DC78-0647-40D4-8E8B-D93D410B4C92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2192705035"/>
              </p:ext>
            </p:extLst>
          </p:nvPr>
        </p:nvGraphicFramePr>
        <p:xfrm>
          <a:off x="548325" y="537728"/>
          <a:ext cx="8166099" cy="4000494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" name="Прямоугольник 1">
            <a:extLst>
              <a:ext uri="{FF2B5EF4-FFF2-40B4-BE49-F238E27FC236}">
                <a16:creationId xmlns:a16="http://schemas.microsoft.com/office/drawing/2014/main" xmlns="" id="{A00C9CE8-6B15-4A0E-99A9-2BB10494DE89}"/>
              </a:ext>
            </a:extLst>
          </p:cNvPr>
          <p:cNvSpPr/>
          <p:nvPr/>
        </p:nvSpPr>
        <p:spPr>
          <a:xfrm>
            <a:off x="548325" y="4520886"/>
            <a:ext cx="6415692" cy="230832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ru-RU" sz="900" i="1" cap="none" spc="0" dirty="0">
                <a:ln w="0"/>
                <a:solidFill>
                  <a:schemeClr val="accent1">
                    <a:lumMod val="75000"/>
                  </a:schemeClr>
                </a:solidFill>
              </a:rPr>
              <a:t>*Данные по выездному и въездному туризму Пограничной службы Комитета Национальной Безопасности РК 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xmlns="" id="{3C3FF0CC-9E3C-4D2A-9ED9-2BC3F9EC289D}"/>
              </a:ext>
            </a:extLst>
          </p:cNvPr>
          <p:cNvSpPr txBox="1"/>
          <p:nvPr/>
        </p:nvSpPr>
        <p:spPr bwMode="auto">
          <a:xfrm>
            <a:off x="59375" y="76693"/>
            <a:ext cx="9144000" cy="584773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lIns="91438" tIns="45719" rIns="91438" bIns="45719">
            <a:spAutoFit/>
          </a:bodyPr>
          <a:lstStyle/>
          <a:p>
            <a:pPr>
              <a:buClr>
                <a:schemeClr val="dk1"/>
              </a:buClr>
              <a:buSzPts val="1100"/>
            </a:pPr>
            <a:r>
              <a:rPr lang="ru-RU" sz="1600" b="1" spc="-10" dirty="0">
                <a:solidFill>
                  <a:srgbClr val="0070C0"/>
                </a:solidFill>
                <a:latin typeface="Arial" panose="020B0604020202020204" pitchFamily="34" charset="0"/>
                <a:ea typeface="Tahoma" panose="020B0604030504040204" pitchFamily="34" charset="0"/>
                <a:cs typeface="Arial" panose="020B0604020202020204" pitchFamily="34" charset="0"/>
              </a:rPr>
              <a:t>Туристские потоки</a:t>
            </a:r>
          </a:p>
          <a:p>
            <a:pPr>
              <a:buClr>
                <a:schemeClr val="dk1"/>
              </a:buClr>
              <a:buSzPts val="1100"/>
            </a:pPr>
            <a:endParaRPr lang="ru-RU" sz="1600" b="1" dirty="0">
              <a:solidFill>
                <a:srgbClr val="002060"/>
              </a:solidFill>
              <a:latin typeface="Arial" panose="020B0604020202020204" pitchFamily="34" charset="0"/>
              <a:ea typeface="ＭＳ Ｐゴシック"/>
              <a:cs typeface="Arial" panose="020B0604020202020204" pitchFamily="34" charset="0"/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xmlns="" id="{34CBBBEA-B7EB-4A4E-A2C2-1C13A07709BA}"/>
              </a:ext>
            </a:extLst>
          </p:cNvPr>
          <p:cNvSpPr/>
          <p:nvPr/>
        </p:nvSpPr>
        <p:spPr>
          <a:xfrm>
            <a:off x="455560" y="4774420"/>
            <a:ext cx="4898318" cy="230832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ru-RU" sz="900" i="1" cap="none" spc="0" dirty="0">
                <a:ln w="0"/>
                <a:solidFill>
                  <a:schemeClr val="accent1">
                    <a:lumMod val="75000"/>
                  </a:schemeClr>
                </a:solidFill>
              </a:rPr>
              <a:t>*Данные по внутреннему туризму Бюро национальной статистики АСПИР РК </a:t>
            </a:r>
          </a:p>
        </p:txBody>
      </p:sp>
    </p:spTree>
    <p:extLst>
      <p:ext uri="{BB962C8B-B14F-4D97-AF65-F5344CB8AC3E}">
        <p14:creationId xmlns:p14="http://schemas.microsoft.com/office/powerpoint/2010/main" xmlns="" val="1294471440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4" name="Прямоугольник 16"/>
          <p:cNvSpPr>
            <a:spLocks noChangeArrowheads="1"/>
          </p:cNvSpPr>
          <p:nvPr/>
        </p:nvSpPr>
        <p:spPr bwMode="auto">
          <a:xfrm>
            <a:off x="0" y="-26582"/>
            <a:ext cx="6856584" cy="3693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b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7175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7175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7175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7175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r>
              <a:rPr lang="ru-RU" altLang="en-US" sz="1800" b="1" dirty="0">
                <a:solidFill>
                  <a:schemeClr val="accent5">
                    <a:lumMod val="75000"/>
                  </a:schemeClr>
                </a:solidFill>
                <a:cs typeface="Arial" charset="0"/>
              </a:rPr>
              <a:t>Туристские потоки за 2022 год*</a:t>
            </a:r>
            <a:endParaRPr lang="ru-RU" altLang="en-US" sz="1800" dirty="0">
              <a:solidFill>
                <a:schemeClr val="accent5">
                  <a:lumMod val="75000"/>
                </a:schemeClr>
              </a:solidFill>
            </a:endParaRPr>
          </a:p>
        </p:txBody>
      </p:sp>
      <p:sp>
        <p:nvSpPr>
          <p:cNvPr id="14" name="TextBox 63"/>
          <p:cNvSpPr txBox="1">
            <a:spLocks noChangeArrowheads="1"/>
          </p:cNvSpPr>
          <p:nvPr/>
        </p:nvSpPr>
        <p:spPr bwMode="auto">
          <a:xfrm flipH="1">
            <a:off x="4890048" y="369080"/>
            <a:ext cx="3657602" cy="43088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100" b="1" dirty="0">
                <a:solidFill>
                  <a:schemeClr val="accent1">
                    <a:lumMod val="50000"/>
                  </a:schemeClr>
                </a:solidFill>
              </a:rPr>
              <a:t>7 670,0 тысяч выездных посетителей, из них по основным 5-ти странам:</a:t>
            </a:r>
          </a:p>
        </p:txBody>
      </p:sp>
      <p:pic>
        <p:nvPicPr>
          <p:cNvPr id="15" name="Picture 4" descr="C:\Users\k.ramazan\Desktop\ИНФОГРАФИКА\Россия.jpg"/>
          <p:cNvPicPr>
            <a:picLocks noChangeAspect="1" noChangeArrowheads="1"/>
          </p:cNvPicPr>
          <p:nvPr/>
        </p:nvPicPr>
        <p:blipFill>
          <a:blip r:embed="rId2" cstate="print"/>
          <a:srcRect/>
          <a:stretch>
            <a:fillRect/>
          </a:stretch>
        </p:blipFill>
        <p:spPr bwMode="auto">
          <a:xfrm>
            <a:off x="5594126" y="781877"/>
            <a:ext cx="2614613" cy="1450181"/>
          </a:xfrm>
          <a:prstGeom prst="rect">
            <a:avLst/>
          </a:prstGeom>
          <a:noFill/>
        </p:spPr>
      </p:pic>
      <p:pic>
        <p:nvPicPr>
          <p:cNvPr id="16" name="Picture 2"/>
          <p:cNvPicPr>
            <a:picLocks noChangeAspect="1" noChangeArrowheads="1"/>
          </p:cNvPicPr>
          <p:nvPr/>
        </p:nvPicPr>
        <p:blipFill>
          <a:blip r:embed="rId3" cstate="print"/>
          <a:srcRect/>
          <a:stretch>
            <a:fillRect/>
          </a:stretch>
        </p:blipFill>
        <p:spPr bwMode="auto">
          <a:xfrm>
            <a:off x="5681693" y="2456612"/>
            <a:ext cx="2155552" cy="1450181"/>
          </a:xfrm>
          <a:prstGeom prst="rect">
            <a:avLst/>
          </a:prstGeom>
          <a:gradFill>
            <a:gsLst>
              <a:gs pos="0">
                <a:schemeClr val="accent1">
                  <a:tint val="66000"/>
                  <a:satMod val="160000"/>
                </a:schemeClr>
              </a:gs>
              <a:gs pos="50000">
                <a:schemeClr val="accent1">
                  <a:tint val="44500"/>
                  <a:satMod val="160000"/>
                </a:schemeClr>
              </a:gs>
              <a:gs pos="100000">
                <a:schemeClr val="accent1">
                  <a:tint val="23500"/>
                  <a:satMod val="160000"/>
                </a:schemeClr>
              </a:gs>
            </a:gsLst>
            <a:lin ang="5400000" scaled="0"/>
          </a:gradFill>
          <a:ln w="25400" cap="flat" cmpd="sng" algn="ctr">
            <a:noFill/>
            <a:prstDash val="sysDot"/>
            <a:miter lim="800000"/>
            <a:headEnd/>
            <a:tailEnd/>
          </a:ln>
          <a:effectLst/>
        </p:spPr>
      </p:pic>
      <p:pic>
        <p:nvPicPr>
          <p:cNvPr id="17" name="Picture 3" descr="C:\Users\k.ramazan\Desktop\ИНФОГРАФИКА\Узбекистан.png"/>
          <p:cNvPicPr>
            <a:picLocks noChangeAspect="1" noChangeArrowheads="1"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4256566" y="3432275"/>
            <a:ext cx="1755083" cy="1278731"/>
          </a:xfrm>
          <a:prstGeom prst="rect">
            <a:avLst/>
          </a:prstGeom>
          <a:noFill/>
        </p:spPr>
      </p:pic>
      <p:pic>
        <p:nvPicPr>
          <p:cNvPr id="18" name="Picture 2" descr="C:\Users\k.ramazan\Desktop\ИНФОГРАФИКА\Kyrgyzstan.png"/>
          <p:cNvPicPr>
            <a:picLocks noChangeAspect="1" noChangeArrowheads="1"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6968504" y="3872463"/>
            <a:ext cx="1601986" cy="1136624"/>
          </a:xfrm>
          <a:prstGeom prst="rect">
            <a:avLst/>
          </a:prstGeom>
          <a:noFill/>
        </p:spPr>
      </p:pic>
      <p:sp>
        <p:nvSpPr>
          <p:cNvPr id="23" name="Выгнутая вверх стрелка 22"/>
          <p:cNvSpPr/>
          <p:nvPr/>
        </p:nvSpPr>
        <p:spPr>
          <a:xfrm rot="14431398">
            <a:off x="5279915" y="2301568"/>
            <a:ext cx="1348418" cy="280767"/>
          </a:xfrm>
          <a:prstGeom prst="curvedDownArrow">
            <a:avLst>
              <a:gd name="adj1" fmla="val 25000"/>
              <a:gd name="adj2" fmla="val 69771"/>
              <a:gd name="adj3" fmla="val 45540"/>
            </a:avLst>
          </a:prstGeom>
          <a:solidFill>
            <a:srgbClr val="FFFF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50">
              <a:solidFill>
                <a:schemeClr val="tx1"/>
              </a:solidFill>
            </a:endParaRPr>
          </a:p>
        </p:txBody>
      </p:sp>
      <p:sp>
        <p:nvSpPr>
          <p:cNvPr id="26" name="Выгнутая вверх стрелка 25"/>
          <p:cNvSpPr/>
          <p:nvPr/>
        </p:nvSpPr>
        <p:spPr>
          <a:xfrm rot="18015890">
            <a:off x="7043199" y="2297718"/>
            <a:ext cx="771765" cy="288466"/>
          </a:xfrm>
          <a:prstGeom prst="curvedDownArrow">
            <a:avLst/>
          </a:prstGeom>
          <a:solidFill>
            <a:srgbClr val="FFFF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50">
              <a:solidFill>
                <a:schemeClr val="tx1"/>
              </a:solidFill>
            </a:endParaRPr>
          </a:p>
        </p:txBody>
      </p:sp>
      <p:sp>
        <p:nvSpPr>
          <p:cNvPr id="27" name="Выгнутая вниз стрелка 26"/>
          <p:cNvSpPr/>
          <p:nvPr/>
        </p:nvSpPr>
        <p:spPr>
          <a:xfrm rot="9443650">
            <a:off x="4814483" y="3258654"/>
            <a:ext cx="1122791" cy="312084"/>
          </a:xfrm>
          <a:prstGeom prst="curvedUpArrow">
            <a:avLst/>
          </a:prstGeom>
          <a:solidFill>
            <a:srgbClr val="FFFF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50">
              <a:solidFill>
                <a:schemeClr val="tx1"/>
              </a:solidFill>
            </a:endParaRPr>
          </a:p>
        </p:txBody>
      </p:sp>
      <p:sp>
        <p:nvSpPr>
          <p:cNvPr id="36" name="TextBox 63"/>
          <p:cNvSpPr txBox="1">
            <a:spLocks noChangeArrowheads="1"/>
          </p:cNvSpPr>
          <p:nvPr/>
        </p:nvSpPr>
        <p:spPr bwMode="auto">
          <a:xfrm flipH="1">
            <a:off x="6421908" y="3975495"/>
            <a:ext cx="893097" cy="253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050" b="1" dirty="0">
                <a:solidFill>
                  <a:schemeClr val="accent1">
                    <a:lumMod val="50000"/>
                  </a:schemeClr>
                </a:solidFill>
              </a:rPr>
              <a:t>1788,5</a:t>
            </a:r>
            <a:endParaRPr lang="ru-RU" sz="105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37" name="TextBox 63"/>
          <p:cNvSpPr txBox="1">
            <a:spLocks noChangeArrowheads="1"/>
          </p:cNvSpPr>
          <p:nvPr/>
        </p:nvSpPr>
        <p:spPr bwMode="auto">
          <a:xfrm flipH="1">
            <a:off x="5009156" y="3287738"/>
            <a:ext cx="874394" cy="253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050" b="1" dirty="0">
                <a:solidFill>
                  <a:schemeClr val="accent1">
                    <a:lumMod val="50000"/>
                  </a:schemeClr>
                </a:solidFill>
              </a:rPr>
              <a:t>1662,6</a:t>
            </a:r>
            <a:endParaRPr lang="ru-RU" sz="105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20" name="TextBox 63"/>
          <p:cNvSpPr txBox="1">
            <a:spLocks noChangeArrowheads="1"/>
          </p:cNvSpPr>
          <p:nvPr/>
        </p:nvSpPr>
        <p:spPr bwMode="auto">
          <a:xfrm flipH="1">
            <a:off x="4775955" y="2588804"/>
            <a:ext cx="1005321" cy="253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050" b="1" dirty="0">
                <a:solidFill>
                  <a:schemeClr val="accent1">
                    <a:lumMod val="50000"/>
                  </a:schemeClr>
                </a:solidFill>
              </a:rPr>
              <a:t>667,3</a:t>
            </a:r>
            <a:endParaRPr lang="ru-RU" sz="1050" dirty="0">
              <a:solidFill>
                <a:schemeClr val="accent1">
                  <a:lumMod val="50000"/>
                </a:schemeClr>
              </a:solidFill>
            </a:endParaRPr>
          </a:p>
        </p:txBody>
      </p:sp>
      <p:graphicFrame>
        <p:nvGraphicFramePr>
          <p:cNvPr id="28" name="Диаграмма 27">
            <a:extLst>
              <a:ext uri="{FF2B5EF4-FFF2-40B4-BE49-F238E27FC236}">
                <a16:creationId xmlns:a16="http://schemas.microsoft.com/office/drawing/2014/main" xmlns="" id="{D3E5D211-5C7B-4BF7-9522-D176EDEBF197}"/>
              </a:ext>
            </a:extLst>
          </p:cNvPr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xmlns="" val="1438139844"/>
              </p:ext>
            </p:extLst>
          </p:nvPr>
        </p:nvGraphicFramePr>
        <p:xfrm>
          <a:off x="185914" y="781877"/>
          <a:ext cx="4009553" cy="4051609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sp>
        <p:nvSpPr>
          <p:cNvPr id="29" name="Прямоугольник 28">
            <a:extLst>
              <a:ext uri="{FF2B5EF4-FFF2-40B4-BE49-F238E27FC236}">
                <a16:creationId xmlns:a16="http://schemas.microsoft.com/office/drawing/2014/main" xmlns="" id="{07A6D7EB-0DBD-4651-8162-F8A305922D56}"/>
              </a:ext>
            </a:extLst>
          </p:cNvPr>
          <p:cNvSpPr/>
          <p:nvPr/>
        </p:nvSpPr>
        <p:spPr>
          <a:xfrm>
            <a:off x="490330" y="4792470"/>
            <a:ext cx="4565374" cy="230832"/>
          </a:xfrm>
          <a:prstGeom prst="rect">
            <a:avLst/>
          </a:prstGeom>
          <a:noFill/>
        </p:spPr>
        <p:txBody>
          <a:bodyPr wrap="square" lIns="91440" tIns="45720" rIns="91440" bIns="45720">
            <a:spAutoFit/>
          </a:bodyPr>
          <a:lstStyle/>
          <a:p>
            <a:pPr algn="ctr"/>
            <a:r>
              <a:rPr lang="ru-RU" sz="900" i="1" cap="none" spc="0" dirty="0">
                <a:ln w="0"/>
                <a:solidFill>
                  <a:schemeClr val="accent1">
                    <a:lumMod val="75000"/>
                  </a:schemeClr>
                </a:solidFill>
              </a:rPr>
              <a:t>*Данные Пограничной службы Комитета Национальной Безопасности РК </a:t>
            </a:r>
          </a:p>
        </p:txBody>
      </p:sp>
      <p:cxnSp>
        <p:nvCxnSpPr>
          <p:cNvPr id="32" name="Straight Connector 65">
            <a:extLst>
              <a:ext uri="{FF2B5EF4-FFF2-40B4-BE49-F238E27FC236}">
                <a16:creationId xmlns:a16="http://schemas.microsoft.com/office/drawing/2014/main" xmlns="" id="{397469A6-E9F1-40F9-8C41-A44901C3663B}"/>
              </a:ext>
            </a:extLst>
          </p:cNvPr>
          <p:cNvCxnSpPr/>
          <p:nvPr/>
        </p:nvCxnSpPr>
        <p:spPr>
          <a:xfrm>
            <a:off x="0" y="369080"/>
            <a:ext cx="9144000" cy="0"/>
          </a:xfrm>
          <a:prstGeom prst="line">
            <a:avLst/>
          </a:prstGeom>
          <a:ln w="28575">
            <a:solidFill>
              <a:schemeClr val="bg1">
                <a:lumMod val="50000"/>
              </a:scheme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Прямоугольник 16">
            <a:extLst>
              <a:ext uri="{FF2B5EF4-FFF2-40B4-BE49-F238E27FC236}">
                <a16:creationId xmlns:a16="http://schemas.microsoft.com/office/drawing/2014/main" xmlns="" id="{7E92B126-AC80-4FBD-ACE2-2AE98036C4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61890" y="391782"/>
            <a:ext cx="3657600" cy="430887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xmlns="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 anchor="b">
            <a:spAutoFit/>
          </a:bodyPr>
          <a:lstStyle>
            <a:lvl1pPr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7175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7175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7175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717550" eaLnBrk="0" fontAlgn="base" hangingPunct="0">
              <a:spcBef>
                <a:spcPct val="0"/>
              </a:spcBef>
              <a:spcAft>
                <a:spcPct val="0"/>
              </a:spcAft>
              <a:defRPr sz="1400"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ctr"/>
            <a:r>
              <a:rPr lang="ru-RU" sz="1100" b="1" dirty="0">
                <a:solidFill>
                  <a:schemeClr val="accent1">
                    <a:lumMod val="50000"/>
                  </a:schemeClr>
                </a:solidFill>
              </a:rPr>
              <a:t>4 728,8 тысяч въездных посетителей, из них по основным 10-ти странам:</a:t>
            </a:r>
          </a:p>
        </p:txBody>
      </p:sp>
      <p:pic>
        <p:nvPicPr>
          <p:cNvPr id="201730" name="Picture 2" descr="Турецкий флаг. 7 интересных фактов о национальном флаге Турции">
            <a:extLst>
              <a:ext uri="{FF2B5EF4-FFF2-40B4-BE49-F238E27FC236}">
                <a16:creationId xmlns:a16="http://schemas.microsoft.com/office/drawing/2014/main" xmlns="" id="{DDF47F82-DE44-451C-A43F-5BB09652F4EF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3873678" y="1539662"/>
            <a:ext cx="1378657" cy="83482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4" name="Выгнутая вверх стрелка 22">
            <a:extLst>
              <a:ext uri="{FF2B5EF4-FFF2-40B4-BE49-F238E27FC236}">
                <a16:creationId xmlns:a16="http://schemas.microsoft.com/office/drawing/2014/main" xmlns="" id="{A3E9C34D-CB08-4841-8FEC-77D47E0FFBBC}"/>
              </a:ext>
            </a:extLst>
          </p:cNvPr>
          <p:cNvSpPr/>
          <p:nvPr/>
        </p:nvSpPr>
        <p:spPr>
          <a:xfrm rot="12422015">
            <a:off x="4669427" y="2631752"/>
            <a:ext cx="1140472" cy="280767"/>
          </a:xfrm>
          <a:prstGeom prst="curvedDownArrow">
            <a:avLst>
              <a:gd name="adj1" fmla="val 25000"/>
              <a:gd name="adj2" fmla="val 69771"/>
              <a:gd name="adj3" fmla="val 45540"/>
            </a:avLst>
          </a:prstGeom>
          <a:solidFill>
            <a:srgbClr val="FFFF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50">
              <a:solidFill>
                <a:schemeClr val="tx1"/>
              </a:solidFill>
            </a:endParaRPr>
          </a:p>
        </p:txBody>
      </p:sp>
      <p:sp>
        <p:nvSpPr>
          <p:cNvPr id="35" name="Выгнутая вниз стрелка 26">
            <a:extLst>
              <a:ext uri="{FF2B5EF4-FFF2-40B4-BE49-F238E27FC236}">
                <a16:creationId xmlns:a16="http://schemas.microsoft.com/office/drawing/2014/main" xmlns="" id="{8166D465-08DF-4D3C-95AE-889B83F02E25}"/>
              </a:ext>
            </a:extLst>
          </p:cNvPr>
          <p:cNvSpPr/>
          <p:nvPr/>
        </p:nvSpPr>
        <p:spPr>
          <a:xfrm rot="4698347">
            <a:off x="6119066" y="4067684"/>
            <a:ext cx="992090" cy="312084"/>
          </a:xfrm>
          <a:prstGeom prst="curvedUpArrow">
            <a:avLst/>
          </a:prstGeom>
          <a:solidFill>
            <a:srgbClr val="FFFF00"/>
          </a:solidFill>
          <a:ln>
            <a:solidFill>
              <a:srgbClr val="FF0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ru-RU" sz="1050">
              <a:solidFill>
                <a:schemeClr val="tx1"/>
              </a:solidFill>
            </a:endParaRPr>
          </a:p>
        </p:txBody>
      </p:sp>
      <p:pic>
        <p:nvPicPr>
          <p:cNvPr id="201732" name="Picture 4" descr="Флаг Объединённых Арабских Эмиратов — Википедия">
            <a:extLst>
              <a:ext uri="{FF2B5EF4-FFF2-40B4-BE49-F238E27FC236}">
                <a16:creationId xmlns:a16="http://schemas.microsoft.com/office/drawing/2014/main" xmlns="" id="{38BC1045-B833-4491-ACF3-ACD3D6DD0524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8">
            <a:extLst>
              <a:ext uri="{28A0092B-C50C-407E-A947-70E740481C1C}">
                <a14:useLocalDpi xmlns:a14="http://schemas.microsoft.com/office/drawing/2010/main" xmlns="" val="0"/>
              </a:ext>
            </a:extLst>
          </a:blip>
          <a:srcRect/>
          <a:stretch>
            <a:fillRect/>
          </a:stretch>
        </p:blipFill>
        <p:spPr bwMode="auto">
          <a:xfrm>
            <a:off x="7799314" y="2140718"/>
            <a:ext cx="1227793" cy="83482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 xmlns="">
                <a:solidFill>
                  <a:srgbClr val="FFFFFF"/>
                </a:solidFill>
              </a14:hiddenFill>
            </a:ext>
          </a:extLst>
        </p:spPr>
      </p:pic>
      <p:sp>
        <p:nvSpPr>
          <p:cNvPr id="38" name="TextBox 63">
            <a:extLst>
              <a:ext uri="{FF2B5EF4-FFF2-40B4-BE49-F238E27FC236}">
                <a16:creationId xmlns:a16="http://schemas.microsoft.com/office/drawing/2014/main" xmlns="" id="{48340620-2400-4AD4-8C1E-55A95A1EE98F}"/>
              </a:ext>
            </a:extLst>
          </p:cNvPr>
          <p:cNvSpPr txBox="1">
            <a:spLocks noChangeArrowheads="1"/>
          </p:cNvSpPr>
          <p:nvPr/>
        </p:nvSpPr>
        <p:spPr bwMode="auto">
          <a:xfrm flipH="1">
            <a:off x="5518800" y="2084206"/>
            <a:ext cx="1005321" cy="253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050" b="1" dirty="0">
                <a:solidFill>
                  <a:schemeClr val="accent1">
                    <a:lumMod val="50000"/>
                  </a:schemeClr>
                </a:solidFill>
              </a:rPr>
              <a:t>2483,0</a:t>
            </a:r>
            <a:endParaRPr lang="ru-RU" sz="1050" dirty="0">
              <a:solidFill>
                <a:schemeClr val="accent1">
                  <a:lumMod val="50000"/>
                </a:schemeClr>
              </a:solidFill>
            </a:endParaRPr>
          </a:p>
        </p:txBody>
      </p:sp>
      <p:sp>
        <p:nvSpPr>
          <p:cNvPr id="39" name="TextBox 63">
            <a:extLst>
              <a:ext uri="{FF2B5EF4-FFF2-40B4-BE49-F238E27FC236}">
                <a16:creationId xmlns:a16="http://schemas.microsoft.com/office/drawing/2014/main" xmlns="" id="{BEC5C494-F80F-47F8-8F8A-7B789B92214E}"/>
              </a:ext>
            </a:extLst>
          </p:cNvPr>
          <p:cNvSpPr txBox="1">
            <a:spLocks noChangeArrowheads="1"/>
          </p:cNvSpPr>
          <p:nvPr/>
        </p:nvSpPr>
        <p:spPr bwMode="auto">
          <a:xfrm flipH="1">
            <a:off x="7083609" y="2367980"/>
            <a:ext cx="1005321" cy="25391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square">
            <a:spAutoFit/>
          </a:bodyPr>
          <a:lstStyle/>
          <a:p>
            <a:pPr algn="ctr"/>
            <a:r>
              <a:rPr lang="ru-RU" sz="1050" b="1" dirty="0">
                <a:solidFill>
                  <a:schemeClr val="accent1">
                    <a:lumMod val="50000"/>
                  </a:schemeClr>
                </a:solidFill>
              </a:rPr>
              <a:t>291,6</a:t>
            </a:r>
            <a:endParaRPr lang="ru-RU" sz="1050" dirty="0">
              <a:solidFill>
                <a:schemeClr val="accent1">
                  <a:lumMod val="50000"/>
                </a:schemeClr>
              </a:solidFill>
            </a:endParaRPr>
          </a:p>
        </p:txBody>
      </p:sp>
    </p:spTree>
  </p:cSld>
  <p:clrMapOvr>
    <a:masterClrMapping/>
  </p:clrMapOvr>
  <p:transition>
    <p:wipe dir="d"/>
  </p:transition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Заголовок 1"/>
          <p:cNvSpPr>
            <a:spLocks noGrp="1"/>
          </p:cNvSpPr>
          <p:nvPr>
            <p:ph type="ctrTitle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3" name="Подзаголовок 2"/>
          <p:cNvSpPr>
            <a:spLocks noGrp="1"/>
          </p:cNvSpPr>
          <p:nvPr>
            <p:ph type="subTitle" idx="1"/>
          </p:nvPr>
        </p:nvSpPr>
        <p:spPr/>
        <p:txBody>
          <a:bodyPr/>
          <a:lstStyle/>
          <a:p>
            <a:endParaRPr lang="ru-RU"/>
          </a:p>
        </p:txBody>
      </p:sp>
      <p:pic>
        <p:nvPicPr>
          <p:cNvPr id="1026" name="Picture 2" descr="C:\Users\as.temirbekova\AppData\Local\Temp\64660e9e47f37201369097.jpg"/>
          <p:cNvPicPr>
            <a:picLocks noChangeAspect="1" noChangeArrowheads="1"/>
          </p:cNvPicPr>
          <p:nvPr/>
        </p:nvPicPr>
        <p:blipFill>
          <a:blip r:embed="rId3"/>
          <a:srcRect/>
          <a:stretch>
            <a:fillRect/>
          </a:stretch>
        </p:blipFill>
        <p:spPr bwMode="auto">
          <a:xfrm>
            <a:off x="0" y="0"/>
            <a:ext cx="9144000" cy="5143500"/>
          </a:xfrm>
          <a:prstGeom prst="rect">
            <a:avLst/>
          </a:prstGeom>
          <a:noFill/>
          <a:ln>
            <a:solidFill>
              <a:schemeClr val="tx1"/>
            </a:solidFill>
          </a:ln>
        </p:spPr>
      </p:pic>
      <p:cxnSp>
        <p:nvCxnSpPr>
          <p:cNvPr id="8" name="Прямая со стрелкой 7"/>
          <p:cNvCxnSpPr/>
          <p:nvPr/>
        </p:nvCxnSpPr>
        <p:spPr>
          <a:xfrm rot="5400000" flipH="1" flipV="1">
            <a:off x="5563202" y="901888"/>
            <a:ext cx="803678" cy="928694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" name="Прямая со стрелкой 9"/>
          <p:cNvCxnSpPr/>
          <p:nvPr/>
        </p:nvCxnSpPr>
        <p:spPr>
          <a:xfrm flipV="1">
            <a:off x="5500695" y="1339445"/>
            <a:ext cx="2428892" cy="428628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4" name="Прямая со стрелкой 13"/>
          <p:cNvCxnSpPr/>
          <p:nvPr/>
        </p:nvCxnSpPr>
        <p:spPr>
          <a:xfrm flipV="1">
            <a:off x="5500694" y="964395"/>
            <a:ext cx="1714512" cy="803678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" name="Прямая со стрелкой 15"/>
          <p:cNvCxnSpPr/>
          <p:nvPr/>
        </p:nvCxnSpPr>
        <p:spPr>
          <a:xfrm rot="10800000">
            <a:off x="3357554" y="910816"/>
            <a:ext cx="2143140" cy="857256"/>
          </a:xfrm>
          <a:prstGeom prst="straightConnector1">
            <a:avLst/>
          </a:prstGeom>
          <a:ln>
            <a:tailEnd type="arrow"/>
          </a:ln>
        </p:spPr>
        <p:style>
          <a:lnRef idx="1">
            <a:schemeClr val="dk1"/>
          </a:lnRef>
          <a:fillRef idx="0">
            <a:schemeClr val="dk1"/>
          </a:fillRef>
          <a:effectRef idx="0">
            <a:schemeClr val="dk1"/>
          </a:effectRef>
          <a:fontRef idx="minor">
            <a:schemeClr val="tx1"/>
          </a:fontRef>
        </p:style>
      </p:cxnSp>
      <p:pic>
        <p:nvPicPr>
          <p:cNvPr id="28" name="Рисунок 27" descr="C:\Users\k.ramazan\Desktop\бренды гостиниц\бренды гостиниц\imgpreview.jpg"/>
          <p:cNvPicPr preferRelativeResize="0">
            <a:picLocks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6215075" y="535767"/>
            <a:ext cx="832519" cy="3934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9" name="Рисунок 28" descr="C:\Users\k.ramazan\Desktop\бренды гостиниц\бренды гостиниц\marriott.jpg"/>
          <p:cNvPicPr preferRelativeResize="0">
            <a:picLocks/>
          </p:cNvPicPr>
          <p:nvPr/>
        </p:nvPicPr>
        <p:blipFill>
          <a:blip r:embed="rId5" cstate="print"/>
          <a:srcRect/>
          <a:stretch>
            <a:fillRect/>
          </a:stretch>
        </p:blipFill>
        <p:spPr bwMode="auto">
          <a:xfrm>
            <a:off x="7143768" y="589346"/>
            <a:ext cx="785818" cy="4286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30" name="Рисунок 29" descr="C:\Users\k.ramazan\Desktop\бренды гостиниц\бренды гостиниц\Rixos.jpg"/>
          <p:cNvPicPr preferRelativeResize="0">
            <a:picLocks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072066" y="482188"/>
            <a:ext cx="857256" cy="375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2" name="Прямая со стрелкой 31"/>
          <p:cNvCxnSpPr>
            <a:endCxn id="30" idx="2"/>
          </p:cNvCxnSpPr>
          <p:nvPr/>
        </p:nvCxnSpPr>
        <p:spPr>
          <a:xfrm rot="5400000" flipH="1" flipV="1">
            <a:off x="5098855" y="830449"/>
            <a:ext cx="375050" cy="428628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4" name="Picture 5" descr="C:\Users\G6F97~1.BOL\AppData\Local\Temp\хэмптон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7929586" y="951001"/>
            <a:ext cx="714380" cy="401839"/>
          </a:xfrm>
          <a:prstGeom prst="rect">
            <a:avLst/>
          </a:prstGeom>
          <a:noFill/>
        </p:spPr>
      </p:pic>
      <p:pic>
        <p:nvPicPr>
          <p:cNvPr id="35" name="Picture 2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5715008" y="2303858"/>
            <a:ext cx="857256" cy="3214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37" name="Прямая со стрелкой 36"/>
          <p:cNvCxnSpPr/>
          <p:nvPr/>
        </p:nvCxnSpPr>
        <p:spPr>
          <a:xfrm rot="16200000" flipH="1">
            <a:off x="5447116" y="1821651"/>
            <a:ext cx="535785" cy="428628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38" name="Picture 3" descr="C:\Users\G6F97~1.BOL\AppData\Local\Temp\парк инн.jpg"/>
          <p:cNvPicPr>
            <a:picLocks noChangeAspect="1" noChangeArrowheads="1"/>
          </p:cNvPicPr>
          <p:nvPr/>
        </p:nvPicPr>
        <p:blipFill>
          <a:blip r:embed="rId9" cstate="print"/>
          <a:srcRect/>
          <a:stretch>
            <a:fillRect/>
          </a:stretch>
        </p:blipFill>
        <p:spPr bwMode="auto">
          <a:xfrm>
            <a:off x="3071803" y="535767"/>
            <a:ext cx="714380" cy="428628"/>
          </a:xfrm>
          <a:prstGeom prst="rect">
            <a:avLst/>
          </a:prstGeom>
          <a:noFill/>
        </p:spPr>
      </p:pic>
      <p:pic>
        <p:nvPicPr>
          <p:cNvPr id="39" name="Рисунок 38" descr="C:\Users\k.ramazan\Desktop\бренды гостиниц\бренды гостиниц\hilton-garden-inn-vector-logo.png"/>
          <p:cNvPicPr/>
          <p:nvPr/>
        </p:nvPicPr>
        <p:blipFill>
          <a:blip r:embed="rId10" cstate="print"/>
          <a:srcRect/>
          <a:stretch>
            <a:fillRect/>
          </a:stretch>
        </p:blipFill>
        <p:spPr bwMode="auto">
          <a:xfrm>
            <a:off x="8286777" y="428610"/>
            <a:ext cx="857224" cy="482207"/>
          </a:xfrm>
          <a:prstGeom prst="rect">
            <a:avLst/>
          </a:prstGeom>
          <a:ln w="9525">
            <a:noFill/>
            <a:miter lim="800000"/>
            <a:headEnd/>
            <a:tailEnd/>
          </a:ln>
        </p:spPr>
      </p:pic>
      <p:cxnSp>
        <p:nvCxnSpPr>
          <p:cNvPr id="41" name="Прямая со стрелкой 40"/>
          <p:cNvCxnSpPr/>
          <p:nvPr/>
        </p:nvCxnSpPr>
        <p:spPr>
          <a:xfrm flipV="1">
            <a:off x="5500695" y="750081"/>
            <a:ext cx="2857520" cy="1071570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45" name="Picture 2" descr="C:\Users\KE868~1.RAM\AppData\Local\Temp\Hilton astana-1.jpeg"/>
          <p:cNvPicPr>
            <a:picLocks noChangeAspect="1" noChangeArrowheads="1"/>
          </p:cNvPicPr>
          <p:nvPr/>
        </p:nvPicPr>
        <p:blipFill>
          <a:blip r:embed="rId11" cstate="print"/>
          <a:srcRect/>
          <a:stretch>
            <a:fillRect/>
          </a:stretch>
        </p:blipFill>
        <p:spPr bwMode="auto">
          <a:xfrm>
            <a:off x="3929059" y="1553759"/>
            <a:ext cx="776279" cy="321471"/>
          </a:xfrm>
          <a:prstGeom prst="rect">
            <a:avLst/>
          </a:prstGeom>
          <a:noFill/>
        </p:spPr>
      </p:pic>
      <p:cxnSp>
        <p:nvCxnSpPr>
          <p:cNvPr id="47" name="Прямая со стрелкой 46"/>
          <p:cNvCxnSpPr/>
          <p:nvPr/>
        </p:nvCxnSpPr>
        <p:spPr>
          <a:xfrm rot="10800000">
            <a:off x="4714877" y="1821651"/>
            <a:ext cx="785818" cy="1191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54" name="Рисунок 53" descr="C:\Users\k.ramazan\Desktop\бренды гостиниц\бренды гостиниц\Rixos.jpg"/>
          <p:cNvPicPr preferRelativeResize="0">
            <a:picLocks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4429124" y="2411015"/>
            <a:ext cx="857256" cy="3214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56" name="Прямая со стрелкой 55"/>
          <p:cNvCxnSpPr/>
          <p:nvPr/>
        </p:nvCxnSpPr>
        <p:spPr>
          <a:xfrm rot="5400000">
            <a:off x="5000628" y="1910949"/>
            <a:ext cx="642942" cy="357190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57" name="Прямоугольник 56"/>
          <p:cNvSpPr/>
          <p:nvPr/>
        </p:nvSpPr>
        <p:spPr>
          <a:xfrm>
            <a:off x="-1143040" y="1"/>
            <a:ext cx="11144328" cy="438582"/>
          </a:xfrm>
          <a:prstGeom prst="rect">
            <a:avLst/>
          </a:prstGeom>
        </p:spPr>
        <p:txBody>
          <a:bodyPr wrap="square" lIns="68580" tIns="34290" rIns="68580" bIns="34290">
            <a:spAutoFit/>
          </a:bodyPr>
          <a:lstStyle/>
          <a:p>
            <a:pPr algn="ctr">
              <a:spcBef>
                <a:spcPct val="0"/>
              </a:spcBef>
              <a:defRPr/>
            </a:pPr>
            <a:r>
              <a:rPr lang="ru-RU" sz="1200" b="1" dirty="0" smtClean="0">
                <a:solidFill>
                  <a:srgbClr val="002060"/>
                </a:solidFill>
                <a:latin typeface="Calibri Light (Заголовки)"/>
              </a:rPr>
              <a:t>Наличие гостиниц всемирно </a:t>
            </a:r>
            <a:r>
              <a:rPr lang="ru-RU" sz="1100" b="1" dirty="0" smtClean="0">
                <a:solidFill>
                  <a:srgbClr val="002060"/>
                </a:solidFill>
                <a:latin typeface="Calibri Light (Заголовки)"/>
              </a:rPr>
              <a:t>известных</a:t>
            </a:r>
            <a:r>
              <a:rPr lang="ru-RU" sz="1200" b="1" dirty="0" smtClean="0">
                <a:solidFill>
                  <a:srgbClr val="002060"/>
                </a:solidFill>
                <a:latin typeface="Calibri Light (Заголовки)"/>
              </a:rPr>
              <a:t> брендов в Республике Казахстан </a:t>
            </a:r>
          </a:p>
          <a:p>
            <a:pPr algn="ctr">
              <a:spcBef>
                <a:spcPct val="0"/>
              </a:spcBef>
              <a:defRPr/>
            </a:pPr>
            <a:r>
              <a:rPr lang="ru-RU" sz="1200" b="1" dirty="0" smtClean="0">
                <a:solidFill>
                  <a:srgbClr val="002060"/>
                </a:solidFill>
                <a:latin typeface="Calibri Light (Заголовки)"/>
              </a:rPr>
              <a:t>(2</a:t>
            </a:r>
            <a:r>
              <a:rPr lang="en-US" sz="1200" b="1" dirty="0" smtClean="0">
                <a:solidFill>
                  <a:srgbClr val="002060"/>
                </a:solidFill>
                <a:latin typeface="Calibri Light (Заголовки)"/>
              </a:rPr>
              <a:t>9</a:t>
            </a:r>
            <a:r>
              <a:rPr lang="ru-RU" sz="1200" b="1" dirty="0" smtClean="0">
                <a:solidFill>
                  <a:srgbClr val="002060"/>
                </a:solidFill>
                <a:latin typeface="Calibri Light (Заголовки)"/>
              </a:rPr>
              <a:t> единиц) </a:t>
            </a:r>
            <a:endParaRPr lang="ru-RU" sz="1200" b="1" dirty="0">
              <a:solidFill>
                <a:srgbClr val="002060"/>
              </a:solidFill>
              <a:latin typeface="Calibri Light (Заголовки)"/>
            </a:endParaRPr>
          </a:p>
        </p:txBody>
      </p:sp>
      <p:pic>
        <p:nvPicPr>
          <p:cNvPr id="66" name="Рисунок 65" descr="C:\Users\k.ramazan\Desktop\бренды гостиниц\бренды гостиниц\soluxe hotel.jpg"/>
          <p:cNvPicPr/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3428992" y="2089544"/>
            <a:ext cx="857256" cy="4286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68" name="Прямая со стрелкой 67"/>
          <p:cNvCxnSpPr/>
          <p:nvPr/>
        </p:nvCxnSpPr>
        <p:spPr>
          <a:xfrm rot="10800000" flipV="1">
            <a:off x="4357687" y="1768072"/>
            <a:ext cx="1143008" cy="482207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2" name="Рисунок 71" descr="C:\Users\k.ramazan\Desktop\бренды гостиниц\бренды гостиниц\Ritz-Carlton.jpg"/>
          <p:cNvPicPr preferRelativeResize="0">
            <a:picLocks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4000497" y="428610"/>
            <a:ext cx="832519" cy="3750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74" name="Прямая со стрелкой 73"/>
          <p:cNvCxnSpPr/>
          <p:nvPr/>
        </p:nvCxnSpPr>
        <p:spPr>
          <a:xfrm rot="16200000" flipV="1">
            <a:off x="4545211" y="812590"/>
            <a:ext cx="910835" cy="1000132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78" name="Рисунок 77" descr="C:\Users\k.ramazan\Desktop\бренды гостиниц\бренды гостиниц\imgpreview.jpg"/>
          <p:cNvPicPr preferRelativeResize="0">
            <a:picLocks/>
          </p:cNvPicPr>
          <p:nvPr/>
        </p:nvPicPr>
        <p:blipFill>
          <a:blip r:embed="rId4" cstate="print"/>
          <a:srcRect/>
          <a:stretch>
            <a:fillRect/>
          </a:stretch>
        </p:blipFill>
        <p:spPr bwMode="auto">
          <a:xfrm>
            <a:off x="2214547" y="1285866"/>
            <a:ext cx="832519" cy="3934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80" name="Прямая со стрелкой 79"/>
          <p:cNvCxnSpPr>
            <a:endCxn id="78" idx="2"/>
          </p:cNvCxnSpPr>
          <p:nvPr/>
        </p:nvCxnSpPr>
        <p:spPr>
          <a:xfrm rot="16200000" flipV="1">
            <a:off x="2512220" y="1797855"/>
            <a:ext cx="249540" cy="12368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2" name="Picture 4" descr="C:\Users\KE868~1.RAM\AppData\Local\Temp\0fc6cdf9-a3b7-4686-843e-7ef66105eb23.jpg"/>
          <p:cNvPicPr>
            <a:picLocks noChangeAspect="1" noChangeArrowheads="1"/>
          </p:cNvPicPr>
          <p:nvPr/>
        </p:nvPicPr>
        <p:blipFill>
          <a:blip r:embed="rId14" cstate="print"/>
          <a:srcRect r="-2855" b="29101"/>
          <a:stretch>
            <a:fillRect/>
          </a:stretch>
        </p:blipFill>
        <p:spPr bwMode="auto">
          <a:xfrm>
            <a:off x="1000101" y="1285867"/>
            <a:ext cx="785818" cy="294682"/>
          </a:xfrm>
          <a:prstGeom prst="rect">
            <a:avLst/>
          </a:prstGeom>
          <a:noFill/>
        </p:spPr>
      </p:pic>
      <p:cxnSp>
        <p:nvCxnSpPr>
          <p:cNvPr id="84" name="Прямая со стрелкой 83"/>
          <p:cNvCxnSpPr/>
          <p:nvPr/>
        </p:nvCxnSpPr>
        <p:spPr>
          <a:xfrm rot="5400000" flipH="1" flipV="1">
            <a:off x="848294" y="2116135"/>
            <a:ext cx="1017992" cy="1588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6" name="Picture 3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214284" y="3107536"/>
            <a:ext cx="928693" cy="3313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=""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=""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</a:extLst>
        </p:spPr>
      </p:pic>
      <p:cxnSp>
        <p:nvCxnSpPr>
          <p:cNvPr id="88" name="Прямая со стрелкой 87"/>
          <p:cNvCxnSpPr/>
          <p:nvPr/>
        </p:nvCxnSpPr>
        <p:spPr>
          <a:xfrm rot="10800000">
            <a:off x="714349" y="3482585"/>
            <a:ext cx="285752" cy="1191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9" name="Picture 2" descr="C:\Users\KE868~1.RAM\AppData\Local\Temp\holiday-inn-logo-in-helvetica.png"/>
          <p:cNvPicPr>
            <a:picLocks noChangeAspect="1" noChangeArrowheads="1"/>
          </p:cNvPicPr>
          <p:nvPr/>
        </p:nvPicPr>
        <p:blipFill>
          <a:blip r:embed="rId16" cstate="print"/>
          <a:srcRect/>
          <a:stretch>
            <a:fillRect/>
          </a:stretch>
        </p:blipFill>
        <p:spPr bwMode="auto">
          <a:xfrm>
            <a:off x="2143108" y="3804056"/>
            <a:ext cx="928694" cy="376392"/>
          </a:xfrm>
          <a:prstGeom prst="rect">
            <a:avLst/>
          </a:prstGeom>
          <a:noFill/>
        </p:spPr>
      </p:pic>
      <p:cxnSp>
        <p:nvCxnSpPr>
          <p:cNvPr id="91" name="Прямая со стрелкой 90"/>
          <p:cNvCxnSpPr/>
          <p:nvPr/>
        </p:nvCxnSpPr>
        <p:spPr>
          <a:xfrm>
            <a:off x="1071539" y="3536163"/>
            <a:ext cx="1214446" cy="375050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3" name="Picture 4" descr="C:\Users\KE868~1.RAM\AppData\Local\Temp\0fc6cdf9-a3b7-4686-843e-7ef66105eb23.jpg"/>
          <p:cNvPicPr>
            <a:picLocks noChangeAspect="1" noChangeArrowheads="1"/>
          </p:cNvPicPr>
          <p:nvPr/>
        </p:nvPicPr>
        <p:blipFill>
          <a:blip r:embed="rId14" cstate="print"/>
          <a:srcRect r="-2855" b="29101"/>
          <a:stretch>
            <a:fillRect/>
          </a:stretch>
        </p:blipFill>
        <p:spPr bwMode="auto">
          <a:xfrm>
            <a:off x="1714481" y="4393419"/>
            <a:ext cx="853684" cy="320132"/>
          </a:xfrm>
          <a:prstGeom prst="rect">
            <a:avLst/>
          </a:prstGeom>
          <a:noFill/>
        </p:spPr>
      </p:pic>
      <p:cxnSp>
        <p:nvCxnSpPr>
          <p:cNvPr id="95" name="Прямая со стрелкой 94"/>
          <p:cNvCxnSpPr/>
          <p:nvPr/>
        </p:nvCxnSpPr>
        <p:spPr>
          <a:xfrm rot="16200000" flipH="1">
            <a:off x="1000100" y="3607602"/>
            <a:ext cx="857256" cy="714380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97" name="Picture 5" descr="https://sun1-47.userapi.com/s/v1/ig2/URrrMY1AFwAAbWhMhgQgwiQjFJd5UtXIntUP-OCoSrXLrYooixMlecvC1O7V7S5GBPgPfopMNmXmvfKk7J22-oLh.jpg?size=400x0&amp;quality=96&amp;crop=340,0,1654,1654&amp;ava=1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=""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428993" y="4393419"/>
            <a:ext cx="835335" cy="437955"/>
          </a:xfrm>
          <a:prstGeom prst="rect">
            <a:avLst/>
          </a:prstGeom>
          <a:noFill/>
          <a:extLst>
            <a:ext uri="{909E8E84-426E-40DD-AFC4-6F175D3DCCD1}">
              <a14:hiddenFill xmlns=""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cxnSp>
        <p:nvCxnSpPr>
          <p:cNvPr id="99" name="Прямая со стрелкой 98"/>
          <p:cNvCxnSpPr/>
          <p:nvPr/>
        </p:nvCxnSpPr>
        <p:spPr>
          <a:xfrm rot="10800000" flipV="1">
            <a:off x="3929058" y="3911212"/>
            <a:ext cx="1000132" cy="482207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05" name="Прямая со стрелкой 104"/>
          <p:cNvCxnSpPr/>
          <p:nvPr/>
        </p:nvCxnSpPr>
        <p:spPr>
          <a:xfrm rot="10800000" flipV="1">
            <a:off x="4214811" y="3911212"/>
            <a:ext cx="714380" cy="53579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06" name="Рисунок 105" descr="C:\Users\k.ramazan\Desktop\бренды гостиниц\бренды гостиниц\Dedeman_Hotels.gif"/>
          <p:cNvPicPr/>
          <p:nvPr/>
        </p:nvPicPr>
        <p:blipFill>
          <a:blip r:embed="rId18" cstate="print"/>
          <a:srcRect/>
          <a:stretch>
            <a:fillRect/>
          </a:stretch>
        </p:blipFill>
        <p:spPr bwMode="auto">
          <a:xfrm>
            <a:off x="8358214" y="1446602"/>
            <a:ext cx="714348" cy="3214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09" name="Прямая со стрелкой 108"/>
          <p:cNvCxnSpPr/>
          <p:nvPr/>
        </p:nvCxnSpPr>
        <p:spPr>
          <a:xfrm flipV="1">
            <a:off x="7858148" y="1660915"/>
            <a:ext cx="428628" cy="160736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1" name="Рисунок 110" descr="C:\Users\k.ramazan\Desktop\бренды гостиниц\бренды гостиниц\royal Tulip.jpg"/>
          <p:cNvPicPr/>
          <p:nvPr/>
        </p:nvPicPr>
        <p:blipFill>
          <a:blip r:embed="rId19" cstate="print"/>
          <a:srcRect/>
          <a:stretch>
            <a:fillRect/>
          </a:stretch>
        </p:blipFill>
        <p:spPr bwMode="auto">
          <a:xfrm>
            <a:off x="7929586" y="4071948"/>
            <a:ext cx="857256" cy="4286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3" name="Прямая со стрелкой 112"/>
          <p:cNvCxnSpPr/>
          <p:nvPr/>
        </p:nvCxnSpPr>
        <p:spPr>
          <a:xfrm>
            <a:off x="6929454" y="3804056"/>
            <a:ext cx="1214446" cy="214314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4" name="Рисунок 113" descr="C:\Users\k.ramazan\Desktop\бренды гостиниц\бренды гостиниц\Ritz-Carlton.jpg"/>
          <p:cNvPicPr preferRelativeResize="0">
            <a:picLocks/>
          </p:cNvPicPr>
          <p:nvPr/>
        </p:nvPicPr>
        <p:blipFill>
          <a:blip r:embed="rId13" cstate="print"/>
          <a:srcRect/>
          <a:stretch>
            <a:fillRect/>
          </a:stretch>
        </p:blipFill>
        <p:spPr bwMode="auto">
          <a:xfrm>
            <a:off x="6858017" y="4232683"/>
            <a:ext cx="903957" cy="48220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16" name="Прямая со стрелкой 115"/>
          <p:cNvCxnSpPr/>
          <p:nvPr/>
        </p:nvCxnSpPr>
        <p:spPr>
          <a:xfrm rot="16200000" flipH="1">
            <a:off x="6884805" y="3848705"/>
            <a:ext cx="375050" cy="285752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18" name="Рисунок 117" descr="C:\Users\k.ramazan\Desktop\бренды гостиниц\бренды гостиниц\Rixos.jpg"/>
          <p:cNvPicPr preferRelativeResize="0">
            <a:picLocks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143900" y="3375428"/>
            <a:ext cx="857256" cy="4286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20" name="Прямая со стрелкой 119"/>
          <p:cNvCxnSpPr/>
          <p:nvPr/>
        </p:nvCxnSpPr>
        <p:spPr>
          <a:xfrm flipV="1">
            <a:off x="6929454" y="3696898"/>
            <a:ext cx="1214446" cy="107157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1" name="Рисунок 120" descr="C:\Users\k.ramazan\Desktop\бренды гостиниц\бренды гостиниц\intercontinental.jpg"/>
          <p:cNvPicPr/>
          <p:nvPr/>
        </p:nvPicPr>
        <p:blipFill>
          <a:blip r:embed="rId20" cstate="print"/>
          <a:srcRect/>
          <a:stretch>
            <a:fillRect/>
          </a:stretch>
        </p:blipFill>
        <p:spPr bwMode="auto">
          <a:xfrm>
            <a:off x="5786446" y="2946800"/>
            <a:ext cx="857256" cy="4524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23" name="Прямая со стрелкой 122"/>
          <p:cNvCxnSpPr/>
          <p:nvPr/>
        </p:nvCxnSpPr>
        <p:spPr>
          <a:xfrm rot="10800000">
            <a:off x="6286512" y="3429006"/>
            <a:ext cx="642942" cy="375050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5" name="Рисунок 124" descr="C:\Users\k.ramazan\Desktop\бренды гостиниц\бренды гостиниц\soluxe hotel.jpg"/>
          <p:cNvPicPr/>
          <p:nvPr/>
        </p:nvPicPr>
        <p:blipFill>
          <a:blip r:embed="rId12" cstate="print"/>
          <a:srcRect/>
          <a:stretch>
            <a:fillRect/>
          </a:stretch>
        </p:blipFill>
        <p:spPr bwMode="auto">
          <a:xfrm>
            <a:off x="8143901" y="2678907"/>
            <a:ext cx="871529" cy="392915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27" name="Прямая со стрелкой 126"/>
          <p:cNvCxnSpPr/>
          <p:nvPr/>
        </p:nvCxnSpPr>
        <p:spPr>
          <a:xfrm flipV="1">
            <a:off x="6929454" y="3107535"/>
            <a:ext cx="1285884" cy="642942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8" name="Рисунок 127" descr="C:\Users\k.ramazan\Desktop\бренды гостиниц\бренды гостиниц\Rixos.jpg"/>
          <p:cNvPicPr preferRelativeResize="0">
            <a:picLocks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5572132" y="4446998"/>
            <a:ext cx="857256" cy="4286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cxnSp>
        <p:nvCxnSpPr>
          <p:cNvPr id="130" name="Прямая со стрелкой 129"/>
          <p:cNvCxnSpPr/>
          <p:nvPr/>
        </p:nvCxnSpPr>
        <p:spPr>
          <a:xfrm>
            <a:off x="5214942" y="4179105"/>
            <a:ext cx="357190" cy="214314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31" name="TextBox 130"/>
          <p:cNvSpPr txBox="1"/>
          <p:nvPr/>
        </p:nvSpPr>
        <p:spPr>
          <a:xfrm>
            <a:off x="0" y="428612"/>
            <a:ext cx="3000364" cy="746358"/>
          </a:xfrm>
          <a:prstGeom prst="rect">
            <a:avLst/>
          </a:prstGeom>
          <a:noFill/>
        </p:spPr>
        <p:txBody>
          <a:bodyPr wrap="square" lIns="68580" tIns="34290" rIns="68580" bIns="34290" rtlCol="0">
            <a:spAutoFit/>
          </a:bodyPr>
          <a:lstStyle/>
          <a:p>
            <a:pPr algn="ctr"/>
            <a:r>
              <a:rPr lang="ru-RU" sz="1100" b="1" dirty="0" smtClean="0">
                <a:solidFill>
                  <a:srgbClr val="002060"/>
                </a:solidFill>
                <a:latin typeface="Calibri Light (Заголовки)"/>
              </a:rPr>
              <a:t>За январь- июнь 2023 года количество мест размещения составило 3914 единиц, что на 2,2% больше чем за январь-июнь 2022 года. </a:t>
            </a:r>
          </a:p>
        </p:txBody>
      </p:sp>
      <p:pic>
        <p:nvPicPr>
          <p:cNvPr id="1027" name="Picture 3"/>
          <p:cNvPicPr>
            <a:picLocks noChangeAspect="1" noChangeArrowheads="1"/>
          </p:cNvPicPr>
          <p:nvPr/>
        </p:nvPicPr>
        <p:blipFill>
          <a:blip r:embed="rId21" cstate="print"/>
          <a:srcRect/>
          <a:stretch>
            <a:fillRect/>
          </a:stretch>
        </p:blipFill>
        <p:spPr bwMode="auto">
          <a:xfrm>
            <a:off x="5357818" y="3643321"/>
            <a:ext cx="714380" cy="38966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166" name="Прямая со стрелкой 165"/>
          <p:cNvCxnSpPr/>
          <p:nvPr/>
        </p:nvCxnSpPr>
        <p:spPr>
          <a:xfrm rot="5400000">
            <a:off x="4875611" y="4232684"/>
            <a:ext cx="321471" cy="214314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0" name="Picture 6"/>
          <p:cNvPicPr>
            <a:picLocks noChangeAspect="1" noChangeArrowheads="1"/>
          </p:cNvPicPr>
          <p:nvPr/>
        </p:nvPicPr>
        <p:blipFill>
          <a:blip r:embed="rId22" cstate="print"/>
          <a:srcRect/>
          <a:stretch>
            <a:fillRect/>
          </a:stretch>
        </p:blipFill>
        <p:spPr bwMode="auto">
          <a:xfrm>
            <a:off x="8501091" y="2143122"/>
            <a:ext cx="642910" cy="3214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182" name="Прямая со стрелкой 181"/>
          <p:cNvCxnSpPr/>
          <p:nvPr/>
        </p:nvCxnSpPr>
        <p:spPr>
          <a:xfrm>
            <a:off x="7858148" y="1875230"/>
            <a:ext cx="642942" cy="321471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83" name="Picture 7"/>
          <p:cNvPicPr>
            <a:picLocks noChangeAspect="1" noChangeArrowheads="1"/>
          </p:cNvPicPr>
          <p:nvPr/>
        </p:nvPicPr>
        <p:blipFill>
          <a:blip r:embed="rId23" cstate="print"/>
          <a:srcRect/>
          <a:stretch>
            <a:fillRect/>
          </a:stretch>
        </p:blipFill>
        <p:spPr bwMode="auto">
          <a:xfrm>
            <a:off x="4643438" y="4661312"/>
            <a:ext cx="642942" cy="3214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</p:pic>
      <p:cxnSp>
        <p:nvCxnSpPr>
          <p:cNvPr id="185" name="Прямая со стрелкой 184"/>
          <p:cNvCxnSpPr/>
          <p:nvPr/>
        </p:nvCxnSpPr>
        <p:spPr>
          <a:xfrm>
            <a:off x="4929191" y="3911213"/>
            <a:ext cx="357190" cy="1191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98" name="Picture 3" descr="C:\Users\KE868~1.RAM\AppData\Local\Temp\regis Astana.png"/>
          <p:cNvPicPr>
            <a:picLocks noChangeAspect="1" noChangeArrowheads="1"/>
          </p:cNvPicPr>
          <p:nvPr/>
        </p:nvPicPr>
        <p:blipFill>
          <a:blip r:embed="rId24" cstate="print"/>
          <a:srcRect/>
          <a:stretch>
            <a:fillRect/>
          </a:stretch>
        </p:blipFill>
        <p:spPr bwMode="auto">
          <a:xfrm>
            <a:off x="7358083" y="267876"/>
            <a:ext cx="700769" cy="299447"/>
          </a:xfrm>
          <a:prstGeom prst="rect">
            <a:avLst/>
          </a:prstGeom>
        </p:spPr>
      </p:pic>
      <p:cxnSp>
        <p:nvCxnSpPr>
          <p:cNvPr id="202" name="Прямая со стрелкой 201"/>
          <p:cNvCxnSpPr/>
          <p:nvPr/>
        </p:nvCxnSpPr>
        <p:spPr>
          <a:xfrm flipV="1">
            <a:off x="5572132" y="535767"/>
            <a:ext cx="1928826" cy="1178727"/>
          </a:xfrm>
          <a:prstGeom prst="straightConnector1">
            <a:avLst/>
          </a:prstGeom>
          <a:ln>
            <a:solidFill>
              <a:schemeClr val="tx1"/>
            </a:solidFill>
            <a:tailEnd type="arrow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67" name="Picture 5" descr="C:\Users\G6F97~1.BOL\AppData\Local\Temp\хэмптон.jp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3428992" y="3750478"/>
            <a:ext cx="714380" cy="401839"/>
          </a:xfrm>
          <a:prstGeom prst="rect">
            <a:avLst/>
          </a:prstGeom>
          <a:noFill/>
        </p:spPr>
      </p:pic>
    </p:spTree>
    <p:extLst>
      <p:ext uri="{BB962C8B-B14F-4D97-AF65-F5344CB8AC3E}">
        <p14:creationId xmlns="" xmlns:p14="http://schemas.microsoft.com/office/powerpoint/2010/main" val="424963615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crcapUTVQFyESy2vCPZubg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Тема Office">
  <a:themeElements>
    <a:clrScheme name="Стандартная">
      <a:dk1>
        <a:srgbClr val="000000"/>
      </a:dk1>
      <a:lt1>
        <a:srgbClr val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xmlns="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11987</TotalTime>
  <Words>664</Words>
  <Application>Microsoft Office PowerPoint</Application>
  <PresentationFormat>Экран (16:9)</PresentationFormat>
  <Paragraphs>113</Paragraphs>
  <Slides>8</Slides>
  <Notes>3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1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8</vt:i4>
      </vt:variant>
    </vt:vector>
  </HeadingPairs>
  <TitlesOfParts>
    <vt:vector size="19" baseType="lpstr">
      <vt:lpstr>Arial</vt:lpstr>
      <vt:lpstr>Calibri</vt:lpstr>
      <vt:lpstr>Lato Black</vt:lpstr>
      <vt:lpstr>Tahoma</vt:lpstr>
      <vt:lpstr>Times New Roman</vt:lpstr>
      <vt:lpstr>ＭＳ Ｐゴシック</vt:lpstr>
      <vt:lpstr>Calibri Light</vt:lpstr>
      <vt:lpstr>Calibri Light (Заголовки)</vt:lpstr>
      <vt:lpstr>Segoe UI Black</vt:lpstr>
      <vt:lpstr>Office Theme</vt:lpstr>
      <vt:lpstr>think-cell Slide</vt:lpstr>
      <vt:lpstr>Слайд 0</vt:lpstr>
      <vt:lpstr>Слайд 1</vt:lpstr>
      <vt:lpstr>Слайд 2</vt:lpstr>
      <vt:lpstr>Слайд 3</vt:lpstr>
      <vt:lpstr>Слайд 4</vt:lpstr>
      <vt:lpstr>Слайд 5</vt:lpstr>
      <vt:lpstr>Слайд 6</vt:lpstr>
      <vt:lpstr>Слайд 7</vt:lpstr>
    </vt:vector>
  </TitlesOfParts>
  <LinksUpToDate>false</LinksUpToDate>
  <SharedDoc>false</SharedDoc>
  <HyperlinksChanged>false</HyperlinksChanged>
  <AppVersion>12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Ансар</dc:creator>
  <cp:lastModifiedBy>a.kyrykbayev</cp:lastModifiedBy>
  <cp:revision>850</cp:revision>
  <cp:lastPrinted>2023-04-25T05:32:36Z</cp:lastPrinted>
  <dcterms:modified xsi:type="dcterms:W3CDTF">2023-12-07T05:50:03Z</dcterms:modified>
</cp:coreProperties>
</file>